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slideLayouts/slideLayout16.xml" ContentType="application/vnd.openxmlformats-officedocument.presentationml.slideLayout+xml"/>
  <Override PartName="/ppt/theme/theme5.xml" ContentType="application/vnd.openxmlformats-officedocument.theme+xml"/>
  <Override PartName="/ppt/slideLayouts/slideLayout17.xml" ContentType="application/vnd.openxmlformats-officedocument.presentationml.slideLayout+xml"/>
  <Override PartName="/ppt/theme/theme6.xml" ContentType="application/vnd.openxmlformats-officedocument.theme+xml"/>
  <Override PartName="/ppt/slideLayouts/slideLayout18.xml" ContentType="application/vnd.openxmlformats-officedocument.presentationml.slideLayout+xml"/>
  <Override PartName="/ppt/theme/theme7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8.xml" ContentType="application/vnd.openxmlformats-officedocument.theme+xml"/>
  <Override PartName="/ppt/slideLayouts/slideLayout22.xml" ContentType="application/vnd.openxmlformats-officedocument.presentationml.slideLayout+xml"/>
  <Override PartName="/ppt/theme/theme9.xml" ContentType="application/vnd.openxmlformats-officedocument.theme+xml"/>
  <Override PartName="/ppt/slideLayouts/slideLayout23.xml" ContentType="application/vnd.openxmlformats-officedocument.presentationml.slideLayout+xml"/>
  <Override PartName="/ppt/theme/theme10.xml" ContentType="application/vnd.openxmlformats-officedocument.theme+xml"/>
  <Override PartName="/ppt/slideLayouts/slideLayout24.xml" ContentType="application/vnd.openxmlformats-officedocument.presentationml.slideLayout+xml"/>
  <Override PartName="/ppt/theme/theme11.xml" ContentType="application/vnd.openxmlformats-officedocument.theme+xml"/>
  <Override PartName="/ppt/slideLayouts/slideLayout25.xml" ContentType="application/vnd.openxmlformats-officedocument.presentationml.slideLayout+xml"/>
  <Override PartName="/ppt/theme/theme12.xml" ContentType="application/vnd.openxmlformats-officedocument.theme+xml"/>
  <Override PartName="/ppt/slideLayouts/slideLayout26.xml" ContentType="application/vnd.openxmlformats-officedocument.presentationml.slideLayout+xml"/>
  <Override PartName="/ppt/theme/theme1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1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15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1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3.xml" ContentType="application/vnd.openxmlformats-officedocument.presentationml.slideLayout+xml"/>
  <Override PartName="/ppt/theme/theme17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4.xml" ContentType="application/vnd.openxmlformats-officedocument.presentationml.slideLayout+xml"/>
  <Override PartName="/ppt/theme/theme18.xml" ContentType="application/vnd.openxmlformats-officedocument.theme+xml"/>
  <Override PartName="/ppt/slideLayouts/slideLayout35.xml" ContentType="application/vnd.openxmlformats-officedocument.presentationml.slideLayout+xml"/>
  <Override PartName="/ppt/theme/theme19.xml" ContentType="application/vnd.openxmlformats-officedocument.theme+xml"/>
  <Override PartName="/ppt/slideLayouts/slideLayout36.xml" ContentType="application/vnd.openxmlformats-officedocument.presentationml.slideLayout+xml"/>
  <Override PartName="/ppt/theme/theme20.xml" ContentType="application/vnd.openxmlformats-officedocument.theme+xml"/>
  <Override PartName="/ppt/slideLayouts/slideLayout37.xml" ContentType="application/vnd.openxmlformats-officedocument.presentationml.slideLayout+xml"/>
  <Override PartName="/ppt/theme/theme21.xml" ContentType="application/vnd.openxmlformats-officedocument.theme+xml"/>
  <Override PartName="/ppt/slideLayouts/slideLayout38.xml" ContentType="application/vnd.openxmlformats-officedocument.presentationml.slideLayout+xml"/>
  <Override PartName="/ppt/theme/theme22.xml" ContentType="application/vnd.openxmlformats-officedocument.theme+xml"/>
  <Override PartName="/ppt/slideLayouts/slideLayout39.xml" ContentType="application/vnd.openxmlformats-officedocument.presentationml.slideLayout+xml"/>
  <Override PartName="/ppt/theme/theme23.xml" ContentType="application/vnd.openxmlformats-officedocument.theme+xml"/>
  <Override PartName="/ppt/slideLayouts/slideLayout40.xml" ContentType="application/vnd.openxmlformats-officedocument.presentationml.slideLayout+xml"/>
  <Override PartName="/ppt/theme/theme24.xml" ContentType="application/vnd.openxmlformats-officedocument.theme+xml"/>
  <Override PartName="/ppt/slideLayouts/slideLayout41.xml" ContentType="application/vnd.openxmlformats-officedocument.presentationml.slideLayout+xml"/>
  <Override PartName="/ppt/theme/theme25.xml" ContentType="application/vnd.openxmlformats-officedocument.theme+xml"/>
  <Override PartName="/ppt/slideLayouts/slideLayout42.xml" ContentType="application/vnd.openxmlformats-officedocument.presentationml.slideLayout+xml"/>
  <Override PartName="/ppt/theme/theme26.xml" ContentType="application/vnd.openxmlformats-officedocument.theme+xml"/>
  <Override PartName="/ppt/slideLayouts/slideLayout43.xml" ContentType="application/vnd.openxmlformats-officedocument.presentationml.slideLayout+xml"/>
  <Override PartName="/ppt/theme/theme27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8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9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30.xml" ContentType="application/vnd.openxmlformats-officedocument.theme+xml"/>
  <Override PartName="/ppt/slideLayouts/slideLayout68.xml" ContentType="application/vnd.openxmlformats-officedocument.presentationml.slideLayout+xml"/>
  <Override PartName="/ppt/theme/theme31.xml" ContentType="application/vnd.openxmlformats-officedocument.theme+xml"/>
  <Override PartName="/ppt/slideLayouts/slideLayout69.xml" ContentType="application/vnd.openxmlformats-officedocument.presentationml.slideLayout+xml"/>
  <Override PartName="/ppt/theme/theme32.xml" ContentType="application/vnd.openxmlformats-officedocument.theme+xml"/>
  <Override PartName="/ppt/slideLayouts/slideLayout70.xml" ContentType="application/vnd.openxmlformats-officedocument.presentationml.slideLayout+xml"/>
  <Override PartName="/ppt/theme/theme33.xml" ContentType="application/vnd.openxmlformats-officedocument.theme+xml"/>
  <Override PartName="/ppt/slideLayouts/slideLayout71.xml" ContentType="application/vnd.openxmlformats-officedocument.presentationml.slideLayout+xml"/>
  <Override PartName="/ppt/theme/theme34.xml" ContentType="application/vnd.openxmlformats-officedocument.theme+xml"/>
  <Override PartName="/ppt/slideLayouts/slideLayout72.xml" ContentType="application/vnd.openxmlformats-officedocument.presentationml.slideLayout+xml"/>
  <Override PartName="/ppt/theme/theme35.xml" ContentType="application/vnd.openxmlformats-officedocument.theme+xml"/>
  <Override PartName="/ppt/theme/theme3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9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3" r:id="rId3"/>
    <p:sldMasterId id="2147483665" r:id="rId4"/>
    <p:sldMasterId id="2147483667" r:id="rId5"/>
    <p:sldMasterId id="2147483669" r:id="rId6"/>
    <p:sldMasterId id="2147483671" r:id="rId7"/>
    <p:sldMasterId id="2147483673" r:id="rId8"/>
    <p:sldMasterId id="2147483677" r:id="rId9"/>
    <p:sldMasterId id="2147483679" r:id="rId10"/>
    <p:sldMasterId id="2147483681" r:id="rId11"/>
    <p:sldMasterId id="2147483683" r:id="rId12"/>
    <p:sldMasterId id="2147483685" r:id="rId13"/>
    <p:sldMasterId id="2147483687" r:id="rId14"/>
    <p:sldMasterId id="2147483689" r:id="rId15"/>
    <p:sldMasterId id="2147483692" r:id="rId16"/>
    <p:sldMasterId id="2147483695" r:id="rId17"/>
    <p:sldMasterId id="2147483697" r:id="rId18"/>
    <p:sldMasterId id="2147483699" r:id="rId19"/>
    <p:sldMasterId id="2147483701" r:id="rId20"/>
    <p:sldMasterId id="2147483703" r:id="rId21"/>
    <p:sldMasterId id="2147483705" r:id="rId22"/>
    <p:sldMasterId id="2147483707" r:id="rId23"/>
    <p:sldMasterId id="2147483709" r:id="rId24"/>
    <p:sldMasterId id="2147483711" r:id="rId25"/>
    <p:sldMasterId id="2147483713" r:id="rId26"/>
    <p:sldMasterId id="2147483715" r:id="rId27"/>
    <p:sldMasterId id="2147483717" r:id="rId28"/>
    <p:sldMasterId id="2147483719" r:id="rId29"/>
    <p:sldMasterId id="2147483745" r:id="rId30"/>
    <p:sldMasterId id="2147483757" r:id="rId31"/>
    <p:sldMasterId id="2147483759" r:id="rId32"/>
    <p:sldMasterId id="2147483761" r:id="rId33"/>
    <p:sldMasterId id="2147483763" r:id="rId34"/>
    <p:sldMasterId id="2147483765" r:id="rId35"/>
  </p:sldMasterIdLst>
  <p:notesMasterIdLst>
    <p:notesMasterId r:id="rId98"/>
  </p:notesMasterIdLst>
  <p:sldIdLst>
    <p:sldId id="310" r:id="rId36"/>
    <p:sldId id="257" r:id="rId37"/>
    <p:sldId id="258" r:id="rId38"/>
    <p:sldId id="259" r:id="rId39"/>
    <p:sldId id="260" r:id="rId40"/>
    <p:sldId id="261" r:id="rId41"/>
    <p:sldId id="262" r:id="rId42"/>
    <p:sldId id="263" r:id="rId43"/>
    <p:sldId id="264" r:id="rId44"/>
    <p:sldId id="265" r:id="rId45"/>
    <p:sldId id="266" r:id="rId46"/>
    <p:sldId id="267" r:id="rId47"/>
    <p:sldId id="304" r:id="rId48"/>
    <p:sldId id="305" r:id="rId49"/>
    <p:sldId id="306" r:id="rId50"/>
    <p:sldId id="307" r:id="rId51"/>
    <p:sldId id="308" r:id="rId52"/>
    <p:sldId id="309" r:id="rId53"/>
    <p:sldId id="311" r:id="rId54"/>
    <p:sldId id="268" r:id="rId55"/>
    <p:sldId id="269" r:id="rId56"/>
    <p:sldId id="270" r:id="rId57"/>
    <p:sldId id="271" r:id="rId58"/>
    <p:sldId id="272" r:id="rId59"/>
    <p:sldId id="273" r:id="rId60"/>
    <p:sldId id="274" r:id="rId61"/>
    <p:sldId id="275" r:id="rId62"/>
    <p:sldId id="276" r:id="rId63"/>
    <p:sldId id="277" r:id="rId64"/>
    <p:sldId id="278" r:id="rId65"/>
    <p:sldId id="279" r:id="rId66"/>
    <p:sldId id="280" r:id="rId67"/>
    <p:sldId id="281" r:id="rId68"/>
    <p:sldId id="282" r:id="rId69"/>
    <p:sldId id="283" r:id="rId70"/>
    <p:sldId id="284" r:id="rId71"/>
    <p:sldId id="285" r:id="rId72"/>
    <p:sldId id="286" r:id="rId73"/>
    <p:sldId id="287" r:id="rId74"/>
    <p:sldId id="288" r:id="rId75"/>
    <p:sldId id="289" r:id="rId76"/>
    <p:sldId id="314" r:id="rId77"/>
    <p:sldId id="315" r:id="rId78"/>
    <p:sldId id="316" r:id="rId79"/>
    <p:sldId id="317" r:id="rId80"/>
    <p:sldId id="318" r:id="rId81"/>
    <p:sldId id="312" r:id="rId82"/>
    <p:sldId id="290" r:id="rId83"/>
    <p:sldId id="291" r:id="rId84"/>
    <p:sldId id="292" r:id="rId85"/>
    <p:sldId id="293" r:id="rId86"/>
    <p:sldId id="294" r:id="rId87"/>
    <p:sldId id="313" r:id="rId88"/>
    <p:sldId id="295" r:id="rId89"/>
    <p:sldId id="296" r:id="rId90"/>
    <p:sldId id="297" r:id="rId91"/>
    <p:sldId id="298" r:id="rId92"/>
    <p:sldId id="299" r:id="rId93"/>
    <p:sldId id="300" r:id="rId94"/>
    <p:sldId id="301" r:id="rId95"/>
    <p:sldId id="302" r:id="rId96"/>
    <p:sldId id="303" r:id="rId9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84" autoAdjust="0"/>
    <p:restoredTop sz="94660"/>
  </p:normalViewPr>
  <p:slideViewPr>
    <p:cSldViewPr>
      <p:cViewPr varScale="1">
        <p:scale>
          <a:sx n="79" d="100"/>
          <a:sy n="79" d="100"/>
        </p:scale>
        <p:origin x="1181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" Target="slides/slide7.xml"/><Relationship Id="rId47" Type="http://schemas.openxmlformats.org/officeDocument/2006/relationships/slide" Target="slides/slide12.xml"/><Relationship Id="rId50" Type="http://schemas.openxmlformats.org/officeDocument/2006/relationships/slide" Target="slides/slide15.xml"/><Relationship Id="rId55" Type="http://schemas.openxmlformats.org/officeDocument/2006/relationships/slide" Target="slides/slide20.xml"/><Relationship Id="rId63" Type="http://schemas.openxmlformats.org/officeDocument/2006/relationships/slide" Target="slides/slide28.xml"/><Relationship Id="rId68" Type="http://schemas.openxmlformats.org/officeDocument/2006/relationships/slide" Target="slides/slide33.xml"/><Relationship Id="rId76" Type="http://schemas.openxmlformats.org/officeDocument/2006/relationships/slide" Target="slides/slide41.xml"/><Relationship Id="rId84" Type="http://schemas.openxmlformats.org/officeDocument/2006/relationships/slide" Target="slides/slide49.xml"/><Relationship Id="rId89" Type="http://schemas.openxmlformats.org/officeDocument/2006/relationships/slide" Target="slides/slide54.xml"/><Relationship Id="rId97" Type="http://schemas.openxmlformats.org/officeDocument/2006/relationships/slide" Target="slides/slide62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36.xml"/><Relationship Id="rId92" Type="http://schemas.openxmlformats.org/officeDocument/2006/relationships/slide" Target="slides/slide5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" Target="slides/slide2.xml"/><Relationship Id="rId40" Type="http://schemas.openxmlformats.org/officeDocument/2006/relationships/slide" Target="slides/slide5.xml"/><Relationship Id="rId45" Type="http://schemas.openxmlformats.org/officeDocument/2006/relationships/slide" Target="slides/slide10.xml"/><Relationship Id="rId53" Type="http://schemas.openxmlformats.org/officeDocument/2006/relationships/slide" Target="slides/slide18.xml"/><Relationship Id="rId58" Type="http://schemas.openxmlformats.org/officeDocument/2006/relationships/slide" Target="slides/slide23.xml"/><Relationship Id="rId66" Type="http://schemas.openxmlformats.org/officeDocument/2006/relationships/slide" Target="slides/slide31.xml"/><Relationship Id="rId74" Type="http://schemas.openxmlformats.org/officeDocument/2006/relationships/slide" Target="slides/slide39.xml"/><Relationship Id="rId79" Type="http://schemas.openxmlformats.org/officeDocument/2006/relationships/slide" Target="slides/slide44.xml"/><Relationship Id="rId87" Type="http://schemas.openxmlformats.org/officeDocument/2006/relationships/slide" Target="slides/slide52.xml"/><Relationship Id="rId10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26.xml"/><Relationship Id="rId82" Type="http://schemas.openxmlformats.org/officeDocument/2006/relationships/slide" Target="slides/slide47.xml"/><Relationship Id="rId90" Type="http://schemas.openxmlformats.org/officeDocument/2006/relationships/slide" Target="slides/slide55.xml"/><Relationship Id="rId95" Type="http://schemas.openxmlformats.org/officeDocument/2006/relationships/slide" Target="slides/slide60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" Target="slides/slide8.xml"/><Relationship Id="rId48" Type="http://schemas.openxmlformats.org/officeDocument/2006/relationships/slide" Target="slides/slide13.xml"/><Relationship Id="rId56" Type="http://schemas.openxmlformats.org/officeDocument/2006/relationships/slide" Target="slides/slide21.xml"/><Relationship Id="rId64" Type="http://schemas.openxmlformats.org/officeDocument/2006/relationships/slide" Target="slides/slide29.xml"/><Relationship Id="rId69" Type="http://schemas.openxmlformats.org/officeDocument/2006/relationships/slide" Target="slides/slide34.xml"/><Relationship Id="rId77" Type="http://schemas.openxmlformats.org/officeDocument/2006/relationships/slide" Target="slides/slide42.xml"/><Relationship Id="rId100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16.xml"/><Relationship Id="rId72" Type="http://schemas.openxmlformats.org/officeDocument/2006/relationships/slide" Target="slides/slide37.xml"/><Relationship Id="rId80" Type="http://schemas.openxmlformats.org/officeDocument/2006/relationships/slide" Target="slides/slide45.xml"/><Relationship Id="rId85" Type="http://schemas.openxmlformats.org/officeDocument/2006/relationships/slide" Target="slides/slide50.xml"/><Relationship Id="rId93" Type="http://schemas.openxmlformats.org/officeDocument/2006/relationships/slide" Target="slides/slide58.xml"/><Relationship Id="rId9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" Target="slides/slide3.xml"/><Relationship Id="rId46" Type="http://schemas.openxmlformats.org/officeDocument/2006/relationships/slide" Target="slides/slide11.xml"/><Relationship Id="rId59" Type="http://schemas.openxmlformats.org/officeDocument/2006/relationships/slide" Target="slides/slide24.xml"/><Relationship Id="rId67" Type="http://schemas.openxmlformats.org/officeDocument/2006/relationships/slide" Target="slides/slide32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6.xml"/><Relationship Id="rId54" Type="http://schemas.openxmlformats.org/officeDocument/2006/relationships/slide" Target="slides/slide19.xml"/><Relationship Id="rId62" Type="http://schemas.openxmlformats.org/officeDocument/2006/relationships/slide" Target="slides/slide27.xml"/><Relationship Id="rId70" Type="http://schemas.openxmlformats.org/officeDocument/2006/relationships/slide" Target="slides/slide35.xml"/><Relationship Id="rId75" Type="http://schemas.openxmlformats.org/officeDocument/2006/relationships/slide" Target="slides/slide40.xml"/><Relationship Id="rId83" Type="http://schemas.openxmlformats.org/officeDocument/2006/relationships/slide" Target="slides/slide48.xml"/><Relationship Id="rId88" Type="http://schemas.openxmlformats.org/officeDocument/2006/relationships/slide" Target="slides/slide53.xml"/><Relationship Id="rId91" Type="http://schemas.openxmlformats.org/officeDocument/2006/relationships/slide" Target="slides/slide56.xml"/><Relationship Id="rId96" Type="http://schemas.openxmlformats.org/officeDocument/2006/relationships/slide" Target="slides/slide6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1.xml"/><Relationship Id="rId49" Type="http://schemas.openxmlformats.org/officeDocument/2006/relationships/slide" Target="slides/slide14.xml"/><Relationship Id="rId57" Type="http://schemas.openxmlformats.org/officeDocument/2006/relationships/slide" Target="slides/slide22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" Target="slides/slide9.xml"/><Relationship Id="rId52" Type="http://schemas.openxmlformats.org/officeDocument/2006/relationships/slide" Target="slides/slide17.xml"/><Relationship Id="rId60" Type="http://schemas.openxmlformats.org/officeDocument/2006/relationships/slide" Target="slides/slide25.xml"/><Relationship Id="rId65" Type="http://schemas.openxmlformats.org/officeDocument/2006/relationships/slide" Target="slides/slide30.xml"/><Relationship Id="rId73" Type="http://schemas.openxmlformats.org/officeDocument/2006/relationships/slide" Target="slides/slide38.xml"/><Relationship Id="rId78" Type="http://schemas.openxmlformats.org/officeDocument/2006/relationships/slide" Target="slides/slide43.xml"/><Relationship Id="rId81" Type="http://schemas.openxmlformats.org/officeDocument/2006/relationships/slide" Target="slides/slide46.xml"/><Relationship Id="rId86" Type="http://schemas.openxmlformats.org/officeDocument/2006/relationships/slide" Target="slides/slide51.xml"/><Relationship Id="rId94" Type="http://schemas.openxmlformats.org/officeDocument/2006/relationships/slide" Target="slides/slide59.xml"/><Relationship Id="rId99" Type="http://schemas.openxmlformats.org/officeDocument/2006/relationships/presProps" Target="presProps.xml"/><Relationship Id="rId10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" Target="slides/slide4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jpeg"/><Relationship Id="rId3" Type="http://schemas.openxmlformats.org/officeDocument/2006/relationships/image" Target="../media/image63.jpeg"/><Relationship Id="rId7" Type="http://schemas.openxmlformats.org/officeDocument/2006/relationships/image" Target="../media/image67.jpeg"/><Relationship Id="rId2" Type="http://schemas.openxmlformats.org/officeDocument/2006/relationships/image" Target="../media/image62.jpeg"/><Relationship Id="rId1" Type="http://schemas.openxmlformats.org/officeDocument/2006/relationships/image" Target="../media/image61.jpeg"/><Relationship Id="rId6" Type="http://schemas.openxmlformats.org/officeDocument/2006/relationships/image" Target="../media/image66.jpeg"/><Relationship Id="rId5" Type="http://schemas.openxmlformats.org/officeDocument/2006/relationships/image" Target="../media/image65.jpeg"/><Relationship Id="rId4" Type="http://schemas.openxmlformats.org/officeDocument/2006/relationships/image" Target="../media/image64.jpeg"/><Relationship Id="rId9" Type="http://schemas.openxmlformats.org/officeDocument/2006/relationships/image" Target="../media/image69.jpeg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13" Type="http://schemas.openxmlformats.org/officeDocument/2006/relationships/image" Target="../media/image92.pn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12" Type="http://schemas.openxmlformats.org/officeDocument/2006/relationships/image" Target="../media/image91.svg"/><Relationship Id="rId2" Type="http://schemas.openxmlformats.org/officeDocument/2006/relationships/image" Target="../media/image81.svg"/><Relationship Id="rId16" Type="http://schemas.openxmlformats.org/officeDocument/2006/relationships/image" Target="../media/image95.svg"/><Relationship Id="rId1" Type="http://schemas.openxmlformats.org/officeDocument/2006/relationships/image" Target="../media/image80.png"/><Relationship Id="rId6" Type="http://schemas.openxmlformats.org/officeDocument/2006/relationships/image" Target="../media/image85.svg"/><Relationship Id="rId11" Type="http://schemas.openxmlformats.org/officeDocument/2006/relationships/image" Target="../media/image90.png"/><Relationship Id="rId5" Type="http://schemas.openxmlformats.org/officeDocument/2006/relationships/image" Target="../media/image84.png"/><Relationship Id="rId15" Type="http://schemas.openxmlformats.org/officeDocument/2006/relationships/image" Target="../media/image94.png"/><Relationship Id="rId10" Type="http://schemas.openxmlformats.org/officeDocument/2006/relationships/image" Target="../media/image89.svg"/><Relationship Id="rId4" Type="http://schemas.openxmlformats.org/officeDocument/2006/relationships/image" Target="../media/image83.svg"/><Relationship Id="rId9" Type="http://schemas.openxmlformats.org/officeDocument/2006/relationships/image" Target="../media/image88.png"/><Relationship Id="rId14" Type="http://schemas.openxmlformats.org/officeDocument/2006/relationships/image" Target="../media/image93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jpeg"/><Relationship Id="rId3" Type="http://schemas.openxmlformats.org/officeDocument/2006/relationships/image" Target="../media/image63.jpeg"/><Relationship Id="rId7" Type="http://schemas.openxmlformats.org/officeDocument/2006/relationships/image" Target="../media/image67.jpeg"/><Relationship Id="rId2" Type="http://schemas.openxmlformats.org/officeDocument/2006/relationships/image" Target="../media/image62.jpeg"/><Relationship Id="rId1" Type="http://schemas.openxmlformats.org/officeDocument/2006/relationships/image" Target="../media/image61.jpeg"/><Relationship Id="rId6" Type="http://schemas.openxmlformats.org/officeDocument/2006/relationships/image" Target="../media/image66.jpeg"/><Relationship Id="rId5" Type="http://schemas.openxmlformats.org/officeDocument/2006/relationships/image" Target="../media/image65.jpeg"/><Relationship Id="rId4" Type="http://schemas.openxmlformats.org/officeDocument/2006/relationships/image" Target="../media/image64.jpeg"/><Relationship Id="rId9" Type="http://schemas.openxmlformats.org/officeDocument/2006/relationships/image" Target="../media/image69.jpe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13" Type="http://schemas.openxmlformats.org/officeDocument/2006/relationships/image" Target="../media/image92.pn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12" Type="http://schemas.openxmlformats.org/officeDocument/2006/relationships/image" Target="../media/image91.svg"/><Relationship Id="rId2" Type="http://schemas.openxmlformats.org/officeDocument/2006/relationships/image" Target="../media/image81.svg"/><Relationship Id="rId16" Type="http://schemas.openxmlformats.org/officeDocument/2006/relationships/image" Target="../media/image95.svg"/><Relationship Id="rId1" Type="http://schemas.openxmlformats.org/officeDocument/2006/relationships/image" Target="../media/image80.png"/><Relationship Id="rId6" Type="http://schemas.openxmlformats.org/officeDocument/2006/relationships/image" Target="../media/image85.svg"/><Relationship Id="rId11" Type="http://schemas.openxmlformats.org/officeDocument/2006/relationships/image" Target="../media/image90.png"/><Relationship Id="rId5" Type="http://schemas.openxmlformats.org/officeDocument/2006/relationships/image" Target="../media/image84.png"/><Relationship Id="rId15" Type="http://schemas.openxmlformats.org/officeDocument/2006/relationships/image" Target="../media/image94.png"/><Relationship Id="rId10" Type="http://schemas.openxmlformats.org/officeDocument/2006/relationships/image" Target="../media/image89.svg"/><Relationship Id="rId4" Type="http://schemas.openxmlformats.org/officeDocument/2006/relationships/image" Target="../media/image83.svg"/><Relationship Id="rId9" Type="http://schemas.openxmlformats.org/officeDocument/2006/relationships/image" Target="../media/image88.png"/><Relationship Id="rId14" Type="http://schemas.openxmlformats.org/officeDocument/2006/relationships/image" Target="../media/image93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icon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6F0393B-1B8D-4486-B137-C07837EC9155}" type="doc">
      <dgm:prSet loTypeId="urn:microsoft.com/office/officeart/2008/layout/PictureGrid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99A57BD-FA02-4950-BD75-241C1C1A02E5}">
      <dgm:prSet phldrT="[Text]"/>
      <dgm:spPr/>
      <dgm:t>
        <a:bodyPr/>
        <a:lstStyle/>
        <a:p>
          <a:r>
            <a:rPr lang="en-US" dirty="0"/>
            <a:t> </a:t>
          </a:r>
        </a:p>
      </dgm:t>
    </dgm:pt>
    <dgm:pt modelId="{341FE4B3-634C-41B8-ACBA-51D1BD0DF8ED}" type="parTrans" cxnId="{C3766792-7B21-48A2-8FE4-7F192529FA7F}">
      <dgm:prSet/>
      <dgm:spPr/>
      <dgm:t>
        <a:bodyPr/>
        <a:lstStyle/>
        <a:p>
          <a:endParaRPr lang="en-US"/>
        </a:p>
      </dgm:t>
    </dgm:pt>
    <dgm:pt modelId="{8E1B1646-19BE-422E-B230-A9CE0A898780}" type="sibTrans" cxnId="{C3766792-7B21-48A2-8FE4-7F192529FA7F}">
      <dgm:prSet/>
      <dgm:spPr/>
      <dgm:t>
        <a:bodyPr/>
        <a:lstStyle/>
        <a:p>
          <a:endParaRPr lang="en-US"/>
        </a:p>
      </dgm:t>
    </dgm:pt>
    <dgm:pt modelId="{ACCB3785-EC78-4A40-B373-CBCEF9FF30A8}">
      <dgm:prSet/>
      <dgm:spPr/>
      <dgm:t>
        <a:bodyPr/>
        <a:lstStyle/>
        <a:p>
          <a:endParaRPr lang="en-US" dirty="0"/>
        </a:p>
      </dgm:t>
    </dgm:pt>
    <dgm:pt modelId="{9EF21BC9-A21B-4CEE-9AF5-92BF08A3136D}" type="parTrans" cxnId="{BA6323D5-D9D7-4DA5-BDD1-59A2ADA37C64}">
      <dgm:prSet/>
      <dgm:spPr/>
      <dgm:t>
        <a:bodyPr/>
        <a:lstStyle/>
        <a:p>
          <a:endParaRPr lang="en-US"/>
        </a:p>
      </dgm:t>
    </dgm:pt>
    <dgm:pt modelId="{E6888F9A-E1D1-4DA5-BEF7-2CCF46D591F2}" type="sibTrans" cxnId="{BA6323D5-D9D7-4DA5-BDD1-59A2ADA37C64}">
      <dgm:prSet/>
      <dgm:spPr/>
      <dgm:t>
        <a:bodyPr/>
        <a:lstStyle/>
        <a:p>
          <a:endParaRPr lang="en-US"/>
        </a:p>
      </dgm:t>
    </dgm:pt>
    <dgm:pt modelId="{B5959216-CE58-475D-B179-07CCF51C2097}">
      <dgm:prSet/>
      <dgm:spPr/>
      <dgm:t>
        <a:bodyPr/>
        <a:lstStyle/>
        <a:p>
          <a:endParaRPr lang="en-US"/>
        </a:p>
      </dgm:t>
    </dgm:pt>
    <dgm:pt modelId="{D19DD4CE-5B76-44F6-98FC-0F1C474B175A}" type="parTrans" cxnId="{092D61E6-1A81-46C0-99BD-7AD464E463B5}">
      <dgm:prSet/>
      <dgm:spPr/>
      <dgm:t>
        <a:bodyPr/>
        <a:lstStyle/>
        <a:p>
          <a:endParaRPr lang="en-US"/>
        </a:p>
      </dgm:t>
    </dgm:pt>
    <dgm:pt modelId="{87D3A03F-8D6E-4478-B515-4F553690E007}" type="sibTrans" cxnId="{092D61E6-1A81-46C0-99BD-7AD464E463B5}">
      <dgm:prSet/>
      <dgm:spPr/>
      <dgm:t>
        <a:bodyPr/>
        <a:lstStyle/>
        <a:p>
          <a:endParaRPr lang="en-US"/>
        </a:p>
      </dgm:t>
    </dgm:pt>
    <dgm:pt modelId="{156CDF10-69C9-4529-990B-FE339BF84419}">
      <dgm:prSet phldrT="[Text]"/>
      <dgm:spPr/>
      <dgm:t>
        <a:bodyPr/>
        <a:lstStyle/>
        <a:p>
          <a:r>
            <a:rPr lang="en-US" dirty="0"/>
            <a:t> </a:t>
          </a:r>
        </a:p>
      </dgm:t>
    </dgm:pt>
    <dgm:pt modelId="{5DF35595-591E-4AAB-A098-3AE6BF9CFB8A}" type="sibTrans" cxnId="{75A6C099-DBA2-4DF5-89BC-248B4F60CE9A}">
      <dgm:prSet/>
      <dgm:spPr/>
      <dgm:t>
        <a:bodyPr/>
        <a:lstStyle/>
        <a:p>
          <a:endParaRPr lang="en-US"/>
        </a:p>
      </dgm:t>
    </dgm:pt>
    <dgm:pt modelId="{75F23795-5EFC-4E08-92A4-96CB8265393B}" type="parTrans" cxnId="{75A6C099-DBA2-4DF5-89BC-248B4F60CE9A}">
      <dgm:prSet/>
      <dgm:spPr/>
      <dgm:t>
        <a:bodyPr/>
        <a:lstStyle/>
        <a:p>
          <a:endParaRPr lang="en-US"/>
        </a:p>
      </dgm:t>
    </dgm:pt>
    <dgm:pt modelId="{EACD1F5A-15A7-43B7-A162-76C77AEAA0E0}">
      <dgm:prSet phldrT="[Text]"/>
      <dgm:spPr/>
      <dgm:t>
        <a:bodyPr/>
        <a:lstStyle/>
        <a:p>
          <a:r>
            <a:rPr lang="en-US" dirty="0"/>
            <a:t> </a:t>
          </a:r>
        </a:p>
      </dgm:t>
    </dgm:pt>
    <dgm:pt modelId="{1FE31904-C165-482D-B153-2AF66D69D93F}" type="sibTrans" cxnId="{FCEDDF68-070C-41B7-BBE3-0A25AA8C315B}">
      <dgm:prSet/>
      <dgm:spPr/>
      <dgm:t>
        <a:bodyPr/>
        <a:lstStyle/>
        <a:p>
          <a:endParaRPr lang="en-US"/>
        </a:p>
      </dgm:t>
    </dgm:pt>
    <dgm:pt modelId="{35F8B7A7-AC5B-48A2-8E42-F2A701FFA5A6}" type="parTrans" cxnId="{FCEDDF68-070C-41B7-BBE3-0A25AA8C315B}">
      <dgm:prSet/>
      <dgm:spPr/>
      <dgm:t>
        <a:bodyPr/>
        <a:lstStyle/>
        <a:p>
          <a:endParaRPr lang="en-US"/>
        </a:p>
      </dgm:t>
    </dgm:pt>
    <dgm:pt modelId="{A0D285B6-A8E6-4F2B-86B4-CDCFC1A65FDC}">
      <dgm:prSet phldrT="[Text]"/>
      <dgm:spPr/>
      <dgm:t>
        <a:bodyPr/>
        <a:lstStyle/>
        <a:p>
          <a:r>
            <a:rPr lang="en-US" dirty="0"/>
            <a:t> </a:t>
          </a:r>
        </a:p>
      </dgm:t>
    </dgm:pt>
    <dgm:pt modelId="{B8AF4AF7-629A-4B25-AC2A-52C876265394}" type="sibTrans" cxnId="{B4DF2C1E-BA0C-4184-8E39-D299A8C5BD6F}">
      <dgm:prSet/>
      <dgm:spPr/>
      <dgm:t>
        <a:bodyPr/>
        <a:lstStyle/>
        <a:p>
          <a:endParaRPr lang="en-US"/>
        </a:p>
      </dgm:t>
    </dgm:pt>
    <dgm:pt modelId="{6131FD36-8306-476D-9F72-E411A1595506}" type="parTrans" cxnId="{B4DF2C1E-BA0C-4184-8E39-D299A8C5BD6F}">
      <dgm:prSet/>
      <dgm:spPr/>
      <dgm:t>
        <a:bodyPr/>
        <a:lstStyle/>
        <a:p>
          <a:endParaRPr lang="en-US"/>
        </a:p>
      </dgm:t>
    </dgm:pt>
    <dgm:pt modelId="{699082F0-F6FA-4A1C-B7C6-00A34FB85C43}">
      <dgm:prSet phldrT="[Text]"/>
      <dgm:spPr/>
      <dgm:t>
        <a:bodyPr/>
        <a:lstStyle/>
        <a:p>
          <a:endParaRPr lang="en-US" dirty="0"/>
        </a:p>
      </dgm:t>
    </dgm:pt>
    <dgm:pt modelId="{1CB7887E-AFFD-45DB-AABD-B3A6F56D6553}" type="parTrans" cxnId="{C47C4593-846A-476F-87C0-4C9E2AD87866}">
      <dgm:prSet/>
      <dgm:spPr/>
      <dgm:t>
        <a:bodyPr/>
        <a:lstStyle/>
        <a:p>
          <a:endParaRPr lang="en-US"/>
        </a:p>
      </dgm:t>
    </dgm:pt>
    <dgm:pt modelId="{F6A7DE12-3DD7-4413-91B7-5C8D2235F783}" type="sibTrans" cxnId="{C47C4593-846A-476F-87C0-4C9E2AD87866}">
      <dgm:prSet/>
      <dgm:spPr/>
      <dgm:t>
        <a:bodyPr/>
        <a:lstStyle/>
        <a:p>
          <a:endParaRPr lang="en-US"/>
        </a:p>
      </dgm:t>
    </dgm:pt>
    <dgm:pt modelId="{3BC875A4-D188-45B9-B69E-8A8228E92C4C}">
      <dgm:prSet phldrT="[Text]"/>
      <dgm:spPr/>
      <dgm:t>
        <a:bodyPr/>
        <a:lstStyle/>
        <a:p>
          <a:endParaRPr lang="en-US" dirty="0"/>
        </a:p>
      </dgm:t>
    </dgm:pt>
    <dgm:pt modelId="{9F7ACD47-FBF9-401D-85CB-5BF5CDC3F95B}" type="parTrans" cxnId="{FA418840-F2C9-47E2-81DC-C692AF80C8C2}">
      <dgm:prSet/>
      <dgm:spPr/>
      <dgm:t>
        <a:bodyPr/>
        <a:lstStyle/>
        <a:p>
          <a:endParaRPr lang="en-US"/>
        </a:p>
      </dgm:t>
    </dgm:pt>
    <dgm:pt modelId="{AF9F65CF-33F3-4771-88A1-3D6B4EAA6AC9}" type="sibTrans" cxnId="{FA418840-F2C9-47E2-81DC-C692AF80C8C2}">
      <dgm:prSet/>
      <dgm:spPr/>
      <dgm:t>
        <a:bodyPr/>
        <a:lstStyle/>
        <a:p>
          <a:endParaRPr lang="en-US"/>
        </a:p>
      </dgm:t>
    </dgm:pt>
    <dgm:pt modelId="{FA62840C-121C-40E0-941C-E22D8276FF81}">
      <dgm:prSet phldrT="[Text]"/>
      <dgm:spPr/>
      <dgm:t>
        <a:bodyPr/>
        <a:lstStyle/>
        <a:p>
          <a:endParaRPr lang="en-US" dirty="0"/>
        </a:p>
      </dgm:t>
    </dgm:pt>
    <dgm:pt modelId="{D91A3810-142F-448D-81A2-E97569E78A30}" type="parTrans" cxnId="{0AA54039-9E26-489B-A045-2F03917266F5}">
      <dgm:prSet/>
      <dgm:spPr/>
      <dgm:t>
        <a:bodyPr/>
        <a:lstStyle/>
        <a:p>
          <a:endParaRPr lang="en-US"/>
        </a:p>
      </dgm:t>
    </dgm:pt>
    <dgm:pt modelId="{07AE0FC1-9F05-489C-9778-5DC090D45CCA}" type="sibTrans" cxnId="{0AA54039-9E26-489B-A045-2F03917266F5}">
      <dgm:prSet/>
      <dgm:spPr/>
      <dgm:t>
        <a:bodyPr/>
        <a:lstStyle/>
        <a:p>
          <a:endParaRPr lang="en-US"/>
        </a:p>
      </dgm:t>
    </dgm:pt>
    <dgm:pt modelId="{D50C9403-6D59-4649-947E-D77E284E9FE2}" type="pres">
      <dgm:prSet presAssocID="{C6F0393B-1B8D-4486-B137-C07837EC9155}" presName="Name0" presStyleCnt="0">
        <dgm:presLayoutVars>
          <dgm:dir/>
        </dgm:presLayoutVars>
      </dgm:prSet>
      <dgm:spPr/>
    </dgm:pt>
    <dgm:pt modelId="{333B6DD1-E0A4-4353-A2AE-2872D65B5F14}" type="pres">
      <dgm:prSet presAssocID="{799A57BD-FA02-4950-BD75-241C1C1A02E5}" presName="composite" presStyleCnt="0"/>
      <dgm:spPr/>
    </dgm:pt>
    <dgm:pt modelId="{7352B971-81D4-446A-9FE7-9939D1D36632}" type="pres">
      <dgm:prSet presAssocID="{799A57BD-FA02-4950-BD75-241C1C1A02E5}" presName="rect2" presStyleLbl="revTx" presStyleIdx="0" presStyleCnt="9">
        <dgm:presLayoutVars>
          <dgm:bulletEnabled val="1"/>
        </dgm:presLayoutVars>
      </dgm:prSet>
      <dgm:spPr/>
    </dgm:pt>
    <dgm:pt modelId="{15622B59-95EF-4BDF-B3A1-432D57B2A96A}" type="pres">
      <dgm:prSet presAssocID="{799A57BD-FA02-4950-BD75-241C1C1A02E5}" presName="rect1" presStyleLbl="alignImgPlace1" presStyleIdx="0" presStyleCnt="9" custLinFactNeighborX="2542" custLinFactNeighborY="-352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0C68D560-514F-442C-8DE6-BB4C0E1DBD01}" type="pres">
      <dgm:prSet presAssocID="{8E1B1646-19BE-422E-B230-A9CE0A898780}" presName="sibTrans" presStyleCnt="0"/>
      <dgm:spPr/>
    </dgm:pt>
    <dgm:pt modelId="{B52501CE-5527-480E-9AEA-51115DCFBBC7}" type="pres">
      <dgm:prSet presAssocID="{ACCB3785-EC78-4A40-B373-CBCEF9FF30A8}" presName="composite" presStyleCnt="0"/>
      <dgm:spPr/>
    </dgm:pt>
    <dgm:pt modelId="{ED0A5D3D-EFE6-4C92-A5C1-1EDEE2973AFA}" type="pres">
      <dgm:prSet presAssocID="{ACCB3785-EC78-4A40-B373-CBCEF9FF30A8}" presName="rect2" presStyleLbl="revTx" presStyleIdx="1" presStyleCnt="9">
        <dgm:presLayoutVars>
          <dgm:bulletEnabled val="1"/>
        </dgm:presLayoutVars>
      </dgm:prSet>
      <dgm:spPr/>
    </dgm:pt>
    <dgm:pt modelId="{3668530B-8DEC-451A-9365-785706C13BDB}" type="pres">
      <dgm:prSet presAssocID="{ACCB3785-EC78-4A40-B373-CBCEF9FF30A8}" presName="rect1" presStyleLbl="alignImgPlace1" presStyleIdx="1" presStyleCnt="9" custLinFactNeighborX="-623" custLinFactNeighborY="809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3D2123A7-36E2-4803-B234-EEC305ADFFEF}" type="pres">
      <dgm:prSet presAssocID="{E6888F9A-E1D1-4DA5-BEF7-2CCF46D591F2}" presName="sibTrans" presStyleCnt="0"/>
      <dgm:spPr/>
    </dgm:pt>
    <dgm:pt modelId="{AB5B1F26-D348-4D0B-8D8A-3591DD110084}" type="pres">
      <dgm:prSet presAssocID="{B5959216-CE58-475D-B179-07CCF51C2097}" presName="composite" presStyleCnt="0"/>
      <dgm:spPr/>
    </dgm:pt>
    <dgm:pt modelId="{16384E0E-CC1A-480D-A860-3DC39E4D8D0F}" type="pres">
      <dgm:prSet presAssocID="{B5959216-CE58-475D-B179-07CCF51C2097}" presName="rect2" presStyleLbl="revTx" presStyleIdx="2" presStyleCnt="9">
        <dgm:presLayoutVars>
          <dgm:bulletEnabled val="1"/>
        </dgm:presLayoutVars>
      </dgm:prSet>
      <dgm:spPr/>
    </dgm:pt>
    <dgm:pt modelId="{DF997817-5D84-4669-8CE3-206F852AD05A}" type="pres">
      <dgm:prSet presAssocID="{B5959216-CE58-475D-B179-07CCF51C2097}" presName="rect1" presStyleLbl="alignImgPlace1" presStyleIdx="2" presStyleCnt="9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</dgm:pt>
    <dgm:pt modelId="{36C7E9FA-55E0-4FF2-A2D6-2B851B00A642}" type="pres">
      <dgm:prSet presAssocID="{87D3A03F-8D6E-4478-B515-4F553690E007}" presName="sibTrans" presStyleCnt="0"/>
      <dgm:spPr/>
    </dgm:pt>
    <dgm:pt modelId="{8B131228-81B1-4B57-9A32-BE9B1985EDE1}" type="pres">
      <dgm:prSet presAssocID="{A0D285B6-A8E6-4F2B-86B4-CDCFC1A65FDC}" presName="composite" presStyleCnt="0"/>
      <dgm:spPr/>
    </dgm:pt>
    <dgm:pt modelId="{7EEB2B21-598F-4AE6-B90E-11E80A180D96}" type="pres">
      <dgm:prSet presAssocID="{A0D285B6-A8E6-4F2B-86B4-CDCFC1A65FDC}" presName="rect2" presStyleLbl="revTx" presStyleIdx="3" presStyleCnt="9">
        <dgm:presLayoutVars>
          <dgm:bulletEnabled val="1"/>
        </dgm:presLayoutVars>
      </dgm:prSet>
      <dgm:spPr/>
    </dgm:pt>
    <dgm:pt modelId="{2B0BEFA9-435F-43E1-8B98-D9928A747DFC}" type="pres">
      <dgm:prSet presAssocID="{A0D285B6-A8E6-4F2B-86B4-CDCFC1A65FDC}" presName="rect1" presStyleLbl="alignImgPlace1" presStyleIdx="3" presStyleCnt="9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7A4F1ED7-AAE5-4DBC-A26F-8B1B24D24F5F}" type="pres">
      <dgm:prSet presAssocID="{B8AF4AF7-629A-4B25-AC2A-52C876265394}" presName="sibTrans" presStyleCnt="0"/>
      <dgm:spPr/>
    </dgm:pt>
    <dgm:pt modelId="{72C22F8B-9055-428A-94FF-D6D332DEBE0C}" type="pres">
      <dgm:prSet presAssocID="{156CDF10-69C9-4529-990B-FE339BF84419}" presName="composite" presStyleCnt="0"/>
      <dgm:spPr/>
    </dgm:pt>
    <dgm:pt modelId="{87BE35B4-AC3C-43F3-9AEB-7671107918ED}" type="pres">
      <dgm:prSet presAssocID="{156CDF10-69C9-4529-990B-FE339BF84419}" presName="rect2" presStyleLbl="revTx" presStyleIdx="4" presStyleCnt="9">
        <dgm:presLayoutVars>
          <dgm:bulletEnabled val="1"/>
        </dgm:presLayoutVars>
      </dgm:prSet>
      <dgm:spPr/>
    </dgm:pt>
    <dgm:pt modelId="{C89523EF-8108-4945-9161-E9F6FB6C93D6}" type="pres">
      <dgm:prSet presAssocID="{156CDF10-69C9-4529-990B-FE339BF84419}" presName="rect1" presStyleLbl="alignImgPlace1" presStyleIdx="4" presStyleCnt="9"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D3DCF804-3FD2-482B-9E9B-F442F85852DB}" type="pres">
      <dgm:prSet presAssocID="{5DF35595-591E-4AAB-A098-3AE6BF9CFB8A}" presName="sibTrans" presStyleCnt="0"/>
      <dgm:spPr/>
    </dgm:pt>
    <dgm:pt modelId="{DC1A639F-99D9-42B1-AD04-D11E586F8E5B}" type="pres">
      <dgm:prSet presAssocID="{EACD1F5A-15A7-43B7-A162-76C77AEAA0E0}" presName="composite" presStyleCnt="0"/>
      <dgm:spPr/>
    </dgm:pt>
    <dgm:pt modelId="{C03843F3-19FC-49F5-BBE0-5BECDD82F7F3}" type="pres">
      <dgm:prSet presAssocID="{EACD1F5A-15A7-43B7-A162-76C77AEAA0E0}" presName="rect2" presStyleLbl="revTx" presStyleIdx="5" presStyleCnt="9">
        <dgm:presLayoutVars>
          <dgm:bulletEnabled val="1"/>
        </dgm:presLayoutVars>
      </dgm:prSet>
      <dgm:spPr/>
    </dgm:pt>
    <dgm:pt modelId="{2E9C21BA-DCC5-4418-A2E4-4A48DA7B24EE}" type="pres">
      <dgm:prSet presAssocID="{EACD1F5A-15A7-43B7-A162-76C77AEAA0E0}" presName="rect1" presStyleLbl="alignImgPlace1" presStyleIdx="5" presStyleCnt="9"/>
      <dgm:spPr>
        <a:blipFill>
          <a:blip xmlns:r="http://schemas.openxmlformats.org/officeDocument/2006/relationships"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</dgm:pt>
    <dgm:pt modelId="{2C42814F-957C-4A4B-981A-BEE928E5FD89}" type="pres">
      <dgm:prSet presAssocID="{1FE31904-C165-482D-B153-2AF66D69D93F}" presName="sibTrans" presStyleCnt="0"/>
      <dgm:spPr/>
    </dgm:pt>
    <dgm:pt modelId="{E78C8192-147E-465F-B4A6-7ABC1D24E291}" type="pres">
      <dgm:prSet presAssocID="{3BC875A4-D188-45B9-B69E-8A8228E92C4C}" presName="composite" presStyleCnt="0"/>
      <dgm:spPr/>
    </dgm:pt>
    <dgm:pt modelId="{3DE5C196-5A09-4070-8FD6-279437DB654D}" type="pres">
      <dgm:prSet presAssocID="{3BC875A4-D188-45B9-B69E-8A8228E92C4C}" presName="rect2" presStyleLbl="revTx" presStyleIdx="6" presStyleCnt="9">
        <dgm:presLayoutVars>
          <dgm:bulletEnabled val="1"/>
        </dgm:presLayoutVars>
      </dgm:prSet>
      <dgm:spPr/>
    </dgm:pt>
    <dgm:pt modelId="{FFAA11DB-D5D3-4B2B-8845-255CF8557CC8}" type="pres">
      <dgm:prSet presAssocID="{3BC875A4-D188-45B9-B69E-8A8228E92C4C}" presName="rect1" presStyleLbl="alignImgPlace1" presStyleIdx="6" presStyleCnt="9"/>
      <dgm:spPr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2EE86569-9441-463D-9F29-22EC088B06F2}" type="pres">
      <dgm:prSet presAssocID="{AF9F65CF-33F3-4771-88A1-3D6B4EAA6AC9}" presName="sibTrans" presStyleCnt="0"/>
      <dgm:spPr/>
    </dgm:pt>
    <dgm:pt modelId="{897200A9-6750-4540-8E98-6397E725CF79}" type="pres">
      <dgm:prSet presAssocID="{FA62840C-121C-40E0-941C-E22D8276FF81}" presName="composite" presStyleCnt="0"/>
      <dgm:spPr/>
    </dgm:pt>
    <dgm:pt modelId="{03A27E88-DFD9-4456-BAF7-5F55179ABDC0}" type="pres">
      <dgm:prSet presAssocID="{FA62840C-121C-40E0-941C-E22D8276FF81}" presName="rect2" presStyleLbl="revTx" presStyleIdx="7" presStyleCnt="9">
        <dgm:presLayoutVars>
          <dgm:bulletEnabled val="1"/>
        </dgm:presLayoutVars>
      </dgm:prSet>
      <dgm:spPr/>
    </dgm:pt>
    <dgm:pt modelId="{17711309-8727-460B-A8ED-5E00997CD844}" type="pres">
      <dgm:prSet presAssocID="{FA62840C-121C-40E0-941C-E22D8276FF81}" presName="rect1" presStyleLbl="alignImgPlace1" presStyleIdx="7" presStyleCnt="9"/>
      <dgm:spPr>
        <a:blipFill>
          <a:blip xmlns:r="http://schemas.openxmlformats.org/officeDocument/2006/relationships"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A40F18FE-8C53-4E09-9206-C5687FB09D55}" type="pres">
      <dgm:prSet presAssocID="{07AE0FC1-9F05-489C-9778-5DC090D45CCA}" presName="sibTrans" presStyleCnt="0"/>
      <dgm:spPr/>
    </dgm:pt>
    <dgm:pt modelId="{D5505E7F-3C11-484D-A965-CD4799F88022}" type="pres">
      <dgm:prSet presAssocID="{699082F0-F6FA-4A1C-B7C6-00A34FB85C43}" presName="composite" presStyleCnt="0"/>
      <dgm:spPr/>
    </dgm:pt>
    <dgm:pt modelId="{E2F39874-429B-4F27-82FF-7BB2831F1C21}" type="pres">
      <dgm:prSet presAssocID="{699082F0-F6FA-4A1C-B7C6-00A34FB85C43}" presName="rect2" presStyleLbl="revTx" presStyleIdx="8" presStyleCnt="9">
        <dgm:presLayoutVars>
          <dgm:bulletEnabled val="1"/>
        </dgm:presLayoutVars>
      </dgm:prSet>
      <dgm:spPr/>
    </dgm:pt>
    <dgm:pt modelId="{59B112E3-AE97-4256-BF42-A1A5F03C7371}" type="pres">
      <dgm:prSet presAssocID="{699082F0-F6FA-4A1C-B7C6-00A34FB85C43}" presName="rect1" presStyleLbl="alignImgPlace1" presStyleIdx="8" presStyleCnt="9"/>
      <dgm:spPr>
        <a:blipFill>
          <a:blip xmlns:r="http://schemas.openxmlformats.org/officeDocument/2006/relationships"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5000" b="-25000"/>
          </a:stretch>
        </a:blipFill>
      </dgm:spPr>
    </dgm:pt>
  </dgm:ptLst>
  <dgm:cxnLst>
    <dgm:cxn modelId="{E408CA0D-E64A-40BB-8EA6-6FFDC74000E5}" type="presOf" srcId="{EACD1F5A-15A7-43B7-A162-76C77AEAA0E0}" destId="{C03843F3-19FC-49F5-BBE0-5BECDD82F7F3}" srcOrd="0" destOrd="0" presId="urn:microsoft.com/office/officeart/2008/layout/PictureGrid"/>
    <dgm:cxn modelId="{28ED5215-4213-46A5-A477-6CFADB33AFDF}" type="presOf" srcId="{C6F0393B-1B8D-4486-B137-C07837EC9155}" destId="{D50C9403-6D59-4649-947E-D77E284E9FE2}" srcOrd="0" destOrd="0" presId="urn:microsoft.com/office/officeart/2008/layout/PictureGrid"/>
    <dgm:cxn modelId="{6A9D9B1D-B848-47A2-8AF9-58B91525B284}" type="presOf" srcId="{699082F0-F6FA-4A1C-B7C6-00A34FB85C43}" destId="{E2F39874-429B-4F27-82FF-7BB2831F1C21}" srcOrd="0" destOrd="0" presId="urn:microsoft.com/office/officeart/2008/layout/PictureGrid"/>
    <dgm:cxn modelId="{B4DF2C1E-BA0C-4184-8E39-D299A8C5BD6F}" srcId="{C6F0393B-1B8D-4486-B137-C07837EC9155}" destId="{A0D285B6-A8E6-4F2B-86B4-CDCFC1A65FDC}" srcOrd="3" destOrd="0" parTransId="{6131FD36-8306-476D-9F72-E411A1595506}" sibTransId="{B8AF4AF7-629A-4B25-AC2A-52C876265394}"/>
    <dgm:cxn modelId="{0EE46424-588D-49C3-AC3F-9B5D1E88BC4E}" type="presOf" srcId="{B5959216-CE58-475D-B179-07CCF51C2097}" destId="{16384E0E-CC1A-480D-A860-3DC39E4D8D0F}" srcOrd="0" destOrd="0" presId="urn:microsoft.com/office/officeart/2008/layout/PictureGrid"/>
    <dgm:cxn modelId="{0AA54039-9E26-489B-A045-2F03917266F5}" srcId="{C6F0393B-1B8D-4486-B137-C07837EC9155}" destId="{FA62840C-121C-40E0-941C-E22D8276FF81}" srcOrd="7" destOrd="0" parTransId="{D91A3810-142F-448D-81A2-E97569E78A30}" sibTransId="{07AE0FC1-9F05-489C-9778-5DC090D45CCA}"/>
    <dgm:cxn modelId="{033E4C3D-AB23-449B-B0FE-CE73A889109A}" type="presOf" srcId="{799A57BD-FA02-4950-BD75-241C1C1A02E5}" destId="{7352B971-81D4-446A-9FE7-9939D1D36632}" srcOrd="0" destOrd="0" presId="urn:microsoft.com/office/officeart/2008/layout/PictureGrid"/>
    <dgm:cxn modelId="{FA418840-F2C9-47E2-81DC-C692AF80C8C2}" srcId="{C6F0393B-1B8D-4486-B137-C07837EC9155}" destId="{3BC875A4-D188-45B9-B69E-8A8228E92C4C}" srcOrd="6" destOrd="0" parTransId="{9F7ACD47-FBF9-401D-85CB-5BF5CDC3F95B}" sibTransId="{AF9F65CF-33F3-4771-88A1-3D6B4EAA6AC9}"/>
    <dgm:cxn modelId="{FCEDDF68-070C-41B7-BBE3-0A25AA8C315B}" srcId="{C6F0393B-1B8D-4486-B137-C07837EC9155}" destId="{EACD1F5A-15A7-43B7-A162-76C77AEAA0E0}" srcOrd="5" destOrd="0" parTransId="{35F8B7A7-AC5B-48A2-8E42-F2A701FFA5A6}" sibTransId="{1FE31904-C165-482D-B153-2AF66D69D93F}"/>
    <dgm:cxn modelId="{64912957-6C70-4DB9-A9F1-7404F455E520}" type="presOf" srcId="{A0D285B6-A8E6-4F2B-86B4-CDCFC1A65FDC}" destId="{7EEB2B21-598F-4AE6-B90E-11E80A180D96}" srcOrd="0" destOrd="0" presId="urn:microsoft.com/office/officeart/2008/layout/PictureGrid"/>
    <dgm:cxn modelId="{33B24178-A971-4773-8562-DB9E7E005665}" type="presOf" srcId="{156CDF10-69C9-4529-990B-FE339BF84419}" destId="{87BE35B4-AC3C-43F3-9AEB-7671107918ED}" srcOrd="0" destOrd="0" presId="urn:microsoft.com/office/officeart/2008/layout/PictureGrid"/>
    <dgm:cxn modelId="{336E8B88-CDE4-4D81-AA9D-8EA6016C8106}" type="presOf" srcId="{FA62840C-121C-40E0-941C-E22D8276FF81}" destId="{03A27E88-DFD9-4456-BAF7-5F55179ABDC0}" srcOrd="0" destOrd="0" presId="urn:microsoft.com/office/officeart/2008/layout/PictureGrid"/>
    <dgm:cxn modelId="{C3766792-7B21-48A2-8FE4-7F192529FA7F}" srcId="{C6F0393B-1B8D-4486-B137-C07837EC9155}" destId="{799A57BD-FA02-4950-BD75-241C1C1A02E5}" srcOrd="0" destOrd="0" parTransId="{341FE4B3-634C-41B8-ACBA-51D1BD0DF8ED}" sibTransId="{8E1B1646-19BE-422E-B230-A9CE0A898780}"/>
    <dgm:cxn modelId="{C47C4593-846A-476F-87C0-4C9E2AD87866}" srcId="{C6F0393B-1B8D-4486-B137-C07837EC9155}" destId="{699082F0-F6FA-4A1C-B7C6-00A34FB85C43}" srcOrd="8" destOrd="0" parTransId="{1CB7887E-AFFD-45DB-AABD-B3A6F56D6553}" sibTransId="{F6A7DE12-3DD7-4413-91B7-5C8D2235F783}"/>
    <dgm:cxn modelId="{75A6C099-DBA2-4DF5-89BC-248B4F60CE9A}" srcId="{C6F0393B-1B8D-4486-B137-C07837EC9155}" destId="{156CDF10-69C9-4529-990B-FE339BF84419}" srcOrd="4" destOrd="0" parTransId="{75F23795-5EFC-4E08-92A4-96CB8265393B}" sibTransId="{5DF35595-591E-4AAB-A098-3AE6BF9CFB8A}"/>
    <dgm:cxn modelId="{A88577BF-2B68-4D60-9FCE-E74B41D77202}" type="presOf" srcId="{3BC875A4-D188-45B9-B69E-8A8228E92C4C}" destId="{3DE5C196-5A09-4070-8FD6-279437DB654D}" srcOrd="0" destOrd="0" presId="urn:microsoft.com/office/officeart/2008/layout/PictureGrid"/>
    <dgm:cxn modelId="{82DFA3C5-BF74-4284-A1BA-8CF5335577EB}" type="presOf" srcId="{ACCB3785-EC78-4A40-B373-CBCEF9FF30A8}" destId="{ED0A5D3D-EFE6-4C92-A5C1-1EDEE2973AFA}" srcOrd="0" destOrd="0" presId="urn:microsoft.com/office/officeart/2008/layout/PictureGrid"/>
    <dgm:cxn modelId="{BA6323D5-D9D7-4DA5-BDD1-59A2ADA37C64}" srcId="{C6F0393B-1B8D-4486-B137-C07837EC9155}" destId="{ACCB3785-EC78-4A40-B373-CBCEF9FF30A8}" srcOrd="1" destOrd="0" parTransId="{9EF21BC9-A21B-4CEE-9AF5-92BF08A3136D}" sibTransId="{E6888F9A-E1D1-4DA5-BEF7-2CCF46D591F2}"/>
    <dgm:cxn modelId="{092D61E6-1A81-46C0-99BD-7AD464E463B5}" srcId="{C6F0393B-1B8D-4486-B137-C07837EC9155}" destId="{B5959216-CE58-475D-B179-07CCF51C2097}" srcOrd="2" destOrd="0" parTransId="{D19DD4CE-5B76-44F6-98FC-0F1C474B175A}" sibTransId="{87D3A03F-8D6E-4478-B515-4F553690E007}"/>
    <dgm:cxn modelId="{89A31C9C-27EB-4699-9F17-273394E217C9}" type="presParOf" srcId="{D50C9403-6D59-4649-947E-D77E284E9FE2}" destId="{333B6DD1-E0A4-4353-A2AE-2872D65B5F14}" srcOrd="0" destOrd="0" presId="urn:microsoft.com/office/officeart/2008/layout/PictureGrid"/>
    <dgm:cxn modelId="{3E7997B7-11DD-4823-9CA6-BD9E2765CF13}" type="presParOf" srcId="{333B6DD1-E0A4-4353-A2AE-2872D65B5F14}" destId="{7352B971-81D4-446A-9FE7-9939D1D36632}" srcOrd="0" destOrd="0" presId="urn:microsoft.com/office/officeart/2008/layout/PictureGrid"/>
    <dgm:cxn modelId="{4FA8D99E-8D18-411A-B9B5-27689AFE1966}" type="presParOf" srcId="{333B6DD1-E0A4-4353-A2AE-2872D65B5F14}" destId="{15622B59-95EF-4BDF-B3A1-432D57B2A96A}" srcOrd="1" destOrd="0" presId="urn:microsoft.com/office/officeart/2008/layout/PictureGrid"/>
    <dgm:cxn modelId="{D62BADA6-565C-438B-8DD1-C0792A58AE87}" type="presParOf" srcId="{D50C9403-6D59-4649-947E-D77E284E9FE2}" destId="{0C68D560-514F-442C-8DE6-BB4C0E1DBD01}" srcOrd="1" destOrd="0" presId="urn:microsoft.com/office/officeart/2008/layout/PictureGrid"/>
    <dgm:cxn modelId="{1742D7C7-9D17-4B36-914B-CF7014F74378}" type="presParOf" srcId="{D50C9403-6D59-4649-947E-D77E284E9FE2}" destId="{B52501CE-5527-480E-9AEA-51115DCFBBC7}" srcOrd="2" destOrd="0" presId="urn:microsoft.com/office/officeart/2008/layout/PictureGrid"/>
    <dgm:cxn modelId="{7F187A38-3F5A-4382-97C1-E59387473901}" type="presParOf" srcId="{B52501CE-5527-480E-9AEA-51115DCFBBC7}" destId="{ED0A5D3D-EFE6-4C92-A5C1-1EDEE2973AFA}" srcOrd="0" destOrd="0" presId="urn:microsoft.com/office/officeart/2008/layout/PictureGrid"/>
    <dgm:cxn modelId="{C233CC87-B842-4BF3-BA49-417AA849AAD3}" type="presParOf" srcId="{B52501CE-5527-480E-9AEA-51115DCFBBC7}" destId="{3668530B-8DEC-451A-9365-785706C13BDB}" srcOrd="1" destOrd="0" presId="urn:microsoft.com/office/officeart/2008/layout/PictureGrid"/>
    <dgm:cxn modelId="{5D49071A-1A2F-4D2B-988C-F778A62B1687}" type="presParOf" srcId="{D50C9403-6D59-4649-947E-D77E284E9FE2}" destId="{3D2123A7-36E2-4803-B234-EEC305ADFFEF}" srcOrd="3" destOrd="0" presId="urn:microsoft.com/office/officeart/2008/layout/PictureGrid"/>
    <dgm:cxn modelId="{083D4A3E-9BC8-4FF4-BD70-EDFA3147971D}" type="presParOf" srcId="{D50C9403-6D59-4649-947E-D77E284E9FE2}" destId="{AB5B1F26-D348-4D0B-8D8A-3591DD110084}" srcOrd="4" destOrd="0" presId="urn:microsoft.com/office/officeart/2008/layout/PictureGrid"/>
    <dgm:cxn modelId="{71F766F7-9D8B-478C-B5E0-369DAD1BB094}" type="presParOf" srcId="{AB5B1F26-D348-4D0B-8D8A-3591DD110084}" destId="{16384E0E-CC1A-480D-A860-3DC39E4D8D0F}" srcOrd="0" destOrd="0" presId="urn:microsoft.com/office/officeart/2008/layout/PictureGrid"/>
    <dgm:cxn modelId="{086BC69E-1669-435E-8A44-630C998A43B1}" type="presParOf" srcId="{AB5B1F26-D348-4D0B-8D8A-3591DD110084}" destId="{DF997817-5D84-4669-8CE3-206F852AD05A}" srcOrd="1" destOrd="0" presId="urn:microsoft.com/office/officeart/2008/layout/PictureGrid"/>
    <dgm:cxn modelId="{CEF56B2F-EF33-4275-A377-05DBC7781692}" type="presParOf" srcId="{D50C9403-6D59-4649-947E-D77E284E9FE2}" destId="{36C7E9FA-55E0-4FF2-A2D6-2B851B00A642}" srcOrd="5" destOrd="0" presId="urn:microsoft.com/office/officeart/2008/layout/PictureGrid"/>
    <dgm:cxn modelId="{D9073AFE-C22A-44D3-BA67-3F8C94E2AAE0}" type="presParOf" srcId="{D50C9403-6D59-4649-947E-D77E284E9FE2}" destId="{8B131228-81B1-4B57-9A32-BE9B1985EDE1}" srcOrd="6" destOrd="0" presId="urn:microsoft.com/office/officeart/2008/layout/PictureGrid"/>
    <dgm:cxn modelId="{4211B294-9378-4C21-BFD4-D6BF15B873C8}" type="presParOf" srcId="{8B131228-81B1-4B57-9A32-BE9B1985EDE1}" destId="{7EEB2B21-598F-4AE6-B90E-11E80A180D96}" srcOrd="0" destOrd="0" presId="urn:microsoft.com/office/officeart/2008/layout/PictureGrid"/>
    <dgm:cxn modelId="{96F780E3-582D-4600-ABC5-522C70F1DADF}" type="presParOf" srcId="{8B131228-81B1-4B57-9A32-BE9B1985EDE1}" destId="{2B0BEFA9-435F-43E1-8B98-D9928A747DFC}" srcOrd="1" destOrd="0" presId="urn:microsoft.com/office/officeart/2008/layout/PictureGrid"/>
    <dgm:cxn modelId="{6CEAEB72-D4A0-45F0-9533-1B1EEC49F978}" type="presParOf" srcId="{D50C9403-6D59-4649-947E-D77E284E9FE2}" destId="{7A4F1ED7-AAE5-4DBC-A26F-8B1B24D24F5F}" srcOrd="7" destOrd="0" presId="urn:microsoft.com/office/officeart/2008/layout/PictureGrid"/>
    <dgm:cxn modelId="{2FB27D5F-1E68-4954-BE52-0927F9311A84}" type="presParOf" srcId="{D50C9403-6D59-4649-947E-D77E284E9FE2}" destId="{72C22F8B-9055-428A-94FF-D6D332DEBE0C}" srcOrd="8" destOrd="0" presId="urn:microsoft.com/office/officeart/2008/layout/PictureGrid"/>
    <dgm:cxn modelId="{CBA44C78-B57A-4E0E-9182-CCF9A909A8E2}" type="presParOf" srcId="{72C22F8B-9055-428A-94FF-D6D332DEBE0C}" destId="{87BE35B4-AC3C-43F3-9AEB-7671107918ED}" srcOrd="0" destOrd="0" presId="urn:microsoft.com/office/officeart/2008/layout/PictureGrid"/>
    <dgm:cxn modelId="{25D3127C-435D-4DC3-9DA6-BEF411AFA67E}" type="presParOf" srcId="{72C22F8B-9055-428A-94FF-D6D332DEBE0C}" destId="{C89523EF-8108-4945-9161-E9F6FB6C93D6}" srcOrd="1" destOrd="0" presId="urn:microsoft.com/office/officeart/2008/layout/PictureGrid"/>
    <dgm:cxn modelId="{19B13C75-CEAF-4ECF-8000-7B227F81713A}" type="presParOf" srcId="{D50C9403-6D59-4649-947E-D77E284E9FE2}" destId="{D3DCF804-3FD2-482B-9E9B-F442F85852DB}" srcOrd="9" destOrd="0" presId="urn:microsoft.com/office/officeart/2008/layout/PictureGrid"/>
    <dgm:cxn modelId="{29AB37A7-9901-4DAA-AA5B-D27E8E3D2E3D}" type="presParOf" srcId="{D50C9403-6D59-4649-947E-D77E284E9FE2}" destId="{DC1A639F-99D9-42B1-AD04-D11E586F8E5B}" srcOrd="10" destOrd="0" presId="urn:microsoft.com/office/officeart/2008/layout/PictureGrid"/>
    <dgm:cxn modelId="{54C28745-B42A-4011-816A-D2C4F3A06092}" type="presParOf" srcId="{DC1A639F-99D9-42B1-AD04-D11E586F8E5B}" destId="{C03843F3-19FC-49F5-BBE0-5BECDD82F7F3}" srcOrd="0" destOrd="0" presId="urn:microsoft.com/office/officeart/2008/layout/PictureGrid"/>
    <dgm:cxn modelId="{418A1C2E-95B0-4202-B169-ACC49B17D947}" type="presParOf" srcId="{DC1A639F-99D9-42B1-AD04-D11E586F8E5B}" destId="{2E9C21BA-DCC5-4418-A2E4-4A48DA7B24EE}" srcOrd="1" destOrd="0" presId="urn:microsoft.com/office/officeart/2008/layout/PictureGrid"/>
    <dgm:cxn modelId="{E9918286-89D3-4302-BDB0-D9DC342171A5}" type="presParOf" srcId="{D50C9403-6D59-4649-947E-D77E284E9FE2}" destId="{2C42814F-957C-4A4B-981A-BEE928E5FD89}" srcOrd="11" destOrd="0" presId="urn:microsoft.com/office/officeart/2008/layout/PictureGrid"/>
    <dgm:cxn modelId="{7F7FE2DD-AB99-4F7A-977F-D5DEE3397151}" type="presParOf" srcId="{D50C9403-6D59-4649-947E-D77E284E9FE2}" destId="{E78C8192-147E-465F-B4A6-7ABC1D24E291}" srcOrd="12" destOrd="0" presId="urn:microsoft.com/office/officeart/2008/layout/PictureGrid"/>
    <dgm:cxn modelId="{F8639955-5D5F-4289-BB1E-0467C300B6FA}" type="presParOf" srcId="{E78C8192-147E-465F-B4A6-7ABC1D24E291}" destId="{3DE5C196-5A09-4070-8FD6-279437DB654D}" srcOrd="0" destOrd="0" presId="urn:microsoft.com/office/officeart/2008/layout/PictureGrid"/>
    <dgm:cxn modelId="{BD0E6516-8FEA-43D3-8984-C78678068A66}" type="presParOf" srcId="{E78C8192-147E-465F-B4A6-7ABC1D24E291}" destId="{FFAA11DB-D5D3-4B2B-8845-255CF8557CC8}" srcOrd="1" destOrd="0" presId="urn:microsoft.com/office/officeart/2008/layout/PictureGrid"/>
    <dgm:cxn modelId="{06EFB4F0-BA92-4202-8FA2-209253C17DA1}" type="presParOf" srcId="{D50C9403-6D59-4649-947E-D77E284E9FE2}" destId="{2EE86569-9441-463D-9F29-22EC088B06F2}" srcOrd="13" destOrd="0" presId="urn:microsoft.com/office/officeart/2008/layout/PictureGrid"/>
    <dgm:cxn modelId="{6C51951F-FB24-46A4-8F92-C05DF67619CA}" type="presParOf" srcId="{D50C9403-6D59-4649-947E-D77E284E9FE2}" destId="{897200A9-6750-4540-8E98-6397E725CF79}" srcOrd="14" destOrd="0" presId="urn:microsoft.com/office/officeart/2008/layout/PictureGrid"/>
    <dgm:cxn modelId="{4C6E4C45-F607-4CC9-A9FE-2E7457B4FF7D}" type="presParOf" srcId="{897200A9-6750-4540-8E98-6397E725CF79}" destId="{03A27E88-DFD9-4456-BAF7-5F55179ABDC0}" srcOrd="0" destOrd="0" presId="urn:microsoft.com/office/officeart/2008/layout/PictureGrid"/>
    <dgm:cxn modelId="{36954018-94AE-40AF-9B89-555A6CE84B84}" type="presParOf" srcId="{897200A9-6750-4540-8E98-6397E725CF79}" destId="{17711309-8727-460B-A8ED-5E00997CD844}" srcOrd="1" destOrd="0" presId="urn:microsoft.com/office/officeart/2008/layout/PictureGrid"/>
    <dgm:cxn modelId="{9E1DDEAD-4196-4549-BFC0-3EC871D8DF1A}" type="presParOf" srcId="{D50C9403-6D59-4649-947E-D77E284E9FE2}" destId="{A40F18FE-8C53-4E09-9206-C5687FB09D55}" srcOrd="15" destOrd="0" presId="urn:microsoft.com/office/officeart/2008/layout/PictureGrid"/>
    <dgm:cxn modelId="{E315FDC2-787E-4627-AAEE-07C19901BAE6}" type="presParOf" srcId="{D50C9403-6D59-4649-947E-D77E284E9FE2}" destId="{D5505E7F-3C11-484D-A965-CD4799F88022}" srcOrd="16" destOrd="0" presId="urn:microsoft.com/office/officeart/2008/layout/PictureGrid"/>
    <dgm:cxn modelId="{ED1E932B-B9EF-414F-B606-BC32BD049E26}" type="presParOf" srcId="{D5505E7F-3C11-484D-A965-CD4799F88022}" destId="{E2F39874-429B-4F27-82FF-7BB2831F1C21}" srcOrd="0" destOrd="0" presId="urn:microsoft.com/office/officeart/2008/layout/PictureGrid"/>
    <dgm:cxn modelId="{50CC3F7B-167C-4EC2-9D13-869494A3158F}" type="presParOf" srcId="{D5505E7F-3C11-484D-A965-CD4799F88022}" destId="{59B112E3-AE97-4256-BF42-A1A5F03C7371}" srcOrd="1" destOrd="0" presId="urn:microsoft.com/office/officeart/2008/layout/PictureGrid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1515D11-A43B-494D-81A9-D63C058E4C96}" type="doc">
      <dgm:prSet loTypeId="urn:microsoft.com/office/officeart/2018/5/layout/IconCircleLabelList" loCatId="icon" qsTypeId="urn:microsoft.com/office/officeart/2005/8/quickstyle/simple1" qsCatId="simple" csTypeId="urn:microsoft.com/office/officeart/2018/5/colors/Iconchunking_neutralicon_colorful1" csCatId="colorful" phldr="1"/>
      <dgm:spPr/>
      <dgm:t>
        <a:bodyPr/>
        <a:lstStyle/>
        <a:p>
          <a:endParaRPr lang="en-US"/>
        </a:p>
      </dgm:t>
    </dgm:pt>
    <dgm:pt modelId="{3B893502-7A75-41C2-A6D8-210E067D4D94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/>
            <a:t>CORE MH PROGRAMS AND PRESENTATIONS</a:t>
          </a:r>
        </a:p>
      </dgm:t>
    </dgm:pt>
    <dgm:pt modelId="{7E78F376-9115-4CFB-A56F-3EB3BEB6C909}" type="parTrans" cxnId="{EE2CFD6D-4EC9-4E66-A4EF-47368695AFB3}">
      <dgm:prSet/>
      <dgm:spPr/>
      <dgm:t>
        <a:bodyPr/>
        <a:lstStyle/>
        <a:p>
          <a:endParaRPr lang="en-US"/>
        </a:p>
      </dgm:t>
    </dgm:pt>
    <dgm:pt modelId="{BB5D7CDB-9CE4-441B-BE66-841F7AEECE7A}" type="sibTrans" cxnId="{EE2CFD6D-4EC9-4E66-A4EF-47368695AFB3}">
      <dgm:prSet/>
      <dgm:spPr/>
      <dgm:t>
        <a:bodyPr/>
        <a:lstStyle/>
        <a:p>
          <a:endParaRPr lang="en-US"/>
        </a:p>
      </dgm:t>
    </dgm:pt>
    <dgm:pt modelId="{73820110-CCDE-49FE-9D8E-C9FD832E3B59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/>
            <a:t>PEER SUPPORT</a:t>
          </a:r>
        </a:p>
      </dgm:t>
    </dgm:pt>
    <dgm:pt modelId="{8D3D89E3-6B7F-4C5A-A9FF-CDF5175EF958}" type="parTrans" cxnId="{70CC5524-9853-4032-BD84-ACF0281B82AA}">
      <dgm:prSet/>
      <dgm:spPr/>
      <dgm:t>
        <a:bodyPr/>
        <a:lstStyle/>
        <a:p>
          <a:endParaRPr lang="en-US"/>
        </a:p>
      </dgm:t>
    </dgm:pt>
    <dgm:pt modelId="{E892C025-B516-4C81-84B2-58A3D1849CEE}" type="sibTrans" cxnId="{70CC5524-9853-4032-BD84-ACF0281B82AA}">
      <dgm:prSet/>
      <dgm:spPr/>
      <dgm:t>
        <a:bodyPr/>
        <a:lstStyle/>
        <a:p>
          <a:endParaRPr lang="en-US"/>
        </a:p>
      </dgm:t>
    </dgm:pt>
    <dgm:pt modelId="{C94B7FFF-BACC-4E7B-B382-F27292E0EB7D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/>
            <a:t>EMPLOYMENT COUNSELLING</a:t>
          </a:r>
        </a:p>
      </dgm:t>
    </dgm:pt>
    <dgm:pt modelId="{7EA8AB19-0583-4D5E-BDFB-36CA87B51DE9}" type="parTrans" cxnId="{3A97A54B-E095-4628-9691-E035EE322AAC}">
      <dgm:prSet/>
      <dgm:spPr/>
      <dgm:t>
        <a:bodyPr/>
        <a:lstStyle/>
        <a:p>
          <a:endParaRPr lang="en-US"/>
        </a:p>
      </dgm:t>
    </dgm:pt>
    <dgm:pt modelId="{72E6263B-D163-47ED-AE0E-73AD76902CCD}" type="sibTrans" cxnId="{3A97A54B-E095-4628-9691-E035EE322AAC}">
      <dgm:prSet/>
      <dgm:spPr/>
      <dgm:t>
        <a:bodyPr/>
        <a:lstStyle/>
        <a:p>
          <a:endParaRPr lang="en-US"/>
        </a:p>
      </dgm:t>
    </dgm:pt>
    <dgm:pt modelId="{5588C117-8E9D-40B7-B2E3-9B59F4534D34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 dirty="0"/>
            <a:t>SELF HELP &amp; SUPPORT GROUPS</a:t>
          </a:r>
        </a:p>
      </dgm:t>
    </dgm:pt>
    <dgm:pt modelId="{51BA9ED5-1CE8-404E-8A24-C513C86876C5}" type="parTrans" cxnId="{556CB30A-2CDB-4D8C-955A-FBBE7ED2B7A9}">
      <dgm:prSet/>
      <dgm:spPr/>
      <dgm:t>
        <a:bodyPr/>
        <a:lstStyle/>
        <a:p>
          <a:endParaRPr lang="en-US"/>
        </a:p>
      </dgm:t>
    </dgm:pt>
    <dgm:pt modelId="{1183BB8B-37B9-469C-82CD-35B74F25C6EA}" type="sibTrans" cxnId="{556CB30A-2CDB-4D8C-955A-FBBE7ED2B7A9}">
      <dgm:prSet/>
      <dgm:spPr/>
      <dgm:t>
        <a:bodyPr/>
        <a:lstStyle/>
        <a:p>
          <a:endParaRPr lang="en-US"/>
        </a:p>
      </dgm:t>
    </dgm:pt>
    <dgm:pt modelId="{6A00C56D-D871-4E41-A4FB-B305F3F1B88E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/>
            <a:t>WORKSHOPS</a:t>
          </a:r>
        </a:p>
      </dgm:t>
    </dgm:pt>
    <dgm:pt modelId="{51A7515E-F60F-4E2C-9CEF-10AEA8C86F78}" type="parTrans" cxnId="{1844F7A3-EAF3-4770-9556-8A3D8D73139E}">
      <dgm:prSet/>
      <dgm:spPr/>
      <dgm:t>
        <a:bodyPr/>
        <a:lstStyle/>
        <a:p>
          <a:endParaRPr lang="en-US"/>
        </a:p>
      </dgm:t>
    </dgm:pt>
    <dgm:pt modelId="{B5DBC2C3-21AD-42CA-AEFF-A7BACFD70BE2}" type="sibTrans" cxnId="{1844F7A3-EAF3-4770-9556-8A3D8D73139E}">
      <dgm:prSet/>
      <dgm:spPr/>
      <dgm:t>
        <a:bodyPr/>
        <a:lstStyle/>
        <a:p>
          <a:endParaRPr lang="en-US"/>
        </a:p>
      </dgm:t>
    </dgm:pt>
    <dgm:pt modelId="{7DB08BE1-49D7-4BED-8F21-9BFDED23F935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/>
            <a:t>MH AWARENESS &amp; WELLNESS EVENTS</a:t>
          </a:r>
        </a:p>
      </dgm:t>
    </dgm:pt>
    <dgm:pt modelId="{CBBBCC62-C1AD-453B-8E32-655AF82EF5C5}" type="parTrans" cxnId="{E32281A8-BB95-40F6-A27E-DDD1316F038B}">
      <dgm:prSet/>
      <dgm:spPr/>
      <dgm:t>
        <a:bodyPr/>
        <a:lstStyle/>
        <a:p>
          <a:endParaRPr lang="en-US"/>
        </a:p>
      </dgm:t>
    </dgm:pt>
    <dgm:pt modelId="{3962998C-849D-4579-9B79-36907930274E}" type="sibTrans" cxnId="{E32281A8-BB95-40F6-A27E-DDD1316F038B}">
      <dgm:prSet/>
      <dgm:spPr/>
      <dgm:t>
        <a:bodyPr/>
        <a:lstStyle/>
        <a:p>
          <a:endParaRPr lang="en-US"/>
        </a:p>
      </dgm:t>
    </dgm:pt>
    <dgm:pt modelId="{E4B7EC43-0337-403B-8885-A90E5B4CB523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/>
            <a:t>ADVOCACY</a:t>
          </a:r>
        </a:p>
      </dgm:t>
    </dgm:pt>
    <dgm:pt modelId="{3C22A59F-5230-4A8F-8C7B-998A01D17468}" type="parTrans" cxnId="{F346F63D-27E0-45E8-B826-6E127B91EAF8}">
      <dgm:prSet/>
      <dgm:spPr/>
      <dgm:t>
        <a:bodyPr/>
        <a:lstStyle/>
        <a:p>
          <a:endParaRPr lang="en-US"/>
        </a:p>
      </dgm:t>
    </dgm:pt>
    <dgm:pt modelId="{92B24E23-58D4-41A5-AD39-AAE3A1750E42}" type="sibTrans" cxnId="{F346F63D-27E0-45E8-B826-6E127B91EAF8}">
      <dgm:prSet/>
      <dgm:spPr/>
      <dgm:t>
        <a:bodyPr/>
        <a:lstStyle/>
        <a:p>
          <a:endParaRPr lang="en-US"/>
        </a:p>
      </dgm:t>
    </dgm:pt>
    <dgm:pt modelId="{2943F2B0-5D99-4481-9C15-46717E9A0BA9}">
      <dgm:prSet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/>
            <a:t>PUBLIC POLICY</a:t>
          </a:r>
        </a:p>
      </dgm:t>
    </dgm:pt>
    <dgm:pt modelId="{3CD1C8D8-D092-4D24-ACE8-9BF324EDDBD5}" type="parTrans" cxnId="{D7BBE6B2-AE88-4BF9-BAED-6B4B045AEA37}">
      <dgm:prSet/>
      <dgm:spPr/>
      <dgm:t>
        <a:bodyPr/>
        <a:lstStyle/>
        <a:p>
          <a:endParaRPr lang="en-US"/>
        </a:p>
      </dgm:t>
    </dgm:pt>
    <dgm:pt modelId="{5E4C7B94-F5C4-4266-9FB5-F3BB3DF4C75E}" type="sibTrans" cxnId="{D7BBE6B2-AE88-4BF9-BAED-6B4B045AEA37}">
      <dgm:prSet/>
      <dgm:spPr/>
      <dgm:t>
        <a:bodyPr/>
        <a:lstStyle/>
        <a:p>
          <a:endParaRPr lang="en-US"/>
        </a:p>
      </dgm:t>
    </dgm:pt>
    <dgm:pt modelId="{4C9CBCF9-5B2D-45B8-9AEC-5F04412C9B7C}" type="pres">
      <dgm:prSet presAssocID="{01515D11-A43B-494D-81A9-D63C058E4C96}" presName="root" presStyleCnt="0">
        <dgm:presLayoutVars>
          <dgm:dir/>
          <dgm:resizeHandles val="exact"/>
        </dgm:presLayoutVars>
      </dgm:prSet>
      <dgm:spPr/>
    </dgm:pt>
    <dgm:pt modelId="{4951937E-FC9F-4905-A8FB-F147DAE6FDD9}" type="pres">
      <dgm:prSet presAssocID="{3B893502-7A75-41C2-A6D8-210E067D4D94}" presName="compNode" presStyleCnt="0"/>
      <dgm:spPr/>
    </dgm:pt>
    <dgm:pt modelId="{EEB261C5-10B2-434E-8A16-75A0A1ADFB88}" type="pres">
      <dgm:prSet presAssocID="{3B893502-7A75-41C2-A6D8-210E067D4D94}" presName="iconBgRect" presStyleLbl="bgShp" presStyleIdx="0" presStyleCnt="8"/>
      <dgm:spPr/>
    </dgm:pt>
    <dgm:pt modelId="{D0DCB7F7-C255-473B-BEF7-3F73BC460026}" type="pres">
      <dgm:prSet presAssocID="{3B893502-7A75-41C2-A6D8-210E067D4D94}" presName="iconRect" presStyleLbl="node1" presStyleIdx="0" presStyleCnt="8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eacher"/>
        </a:ext>
      </dgm:extLst>
    </dgm:pt>
    <dgm:pt modelId="{CBBFE813-6FED-4645-8F05-FAF66738A43A}" type="pres">
      <dgm:prSet presAssocID="{3B893502-7A75-41C2-A6D8-210E067D4D94}" presName="spaceRect" presStyleCnt="0"/>
      <dgm:spPr/>
    </dgm:pt>
    <dgm:pt modelId="{4C5EB254-3CEC-41BF-AF2A-5A7311B2F993}" type="pres">
      <dgm:prSet presAssocID="{3B893502-7A75-41C2-A6D8-210E067D4D94}" presName="textRect" presStyleLbl="revTx" presStyleIdx="0" presStyleCnt="8">
        <dgm:presLayoutVars>
          <dgm:chMax val="1"/>
          <dgm:chPref val="1"/>
        </dgm:presLayoutVars>
      </dgm:prSet>
      <dgm:spPr/>
    </dgm:pt>
    <dgm:pt modelId="{4748FB00-5600-428F-BB47-8449ECD2F55F}" type="pres">
      <dgm:prSet presAssocID="{BB5D7CDB-9CE4-441B-BE66-841F7AEECE7A}" presName="sibTrans" presStyleCnt="0"/>
      <dgm:spPr/>
    </dgm:pt>
    <dgm:pt modelId="{576679F3-EB19-4B27-98B6-CD674BBD92E2}" type="pres">
      <dgm:prSet presAssocID="{73820110-CCDE-49FE-9D8E-C9FD832E3B59}" presName="compNode" presStyleCnt="0"/>
      <dgm:spPr/>
    </dgm:pt>
    <dgm:pt modelId="{50417006-F284-4E95-8B61-ADFB7B04E838}" type="pres">
      <dgm:prSet presAssocID="{73820110-CCDE-49FE-9D8E-C9FD832E3B59}" presName="iconBgRect" presStyleLbl="bgShp" presStyleIdx="1" presStyleCnt="8"/>
      <dgm:spPr/>
    </dgm:pt>
    <dgm:pt modelId="{B232BEF1-26EE-4463-A619-3873A23AD81B}" type="pres">
      <dgm:prSet presAssocID="{73820110-CCDE-49FE-9D8E-C9FD832E3B59}" presName="iconRect" presStyleLbl="node1" presStyleIdx="1" presStyleCnt="8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roup"/>
        </a:ext>
      </dgm:extLst>
    </dgm:pt>
    <dgm:pt modelId="{8B4E457D-04A4-494B-B043-2EED69730561}" type="pres">
      <dgm:prSet presAssocID="{73820110-CCDE-49FE-9D8E-C9FD832E3B59}" presName="spaceRect" presStyleCnt="0"/>
      <dgm:spPr/>
    </dgm:pt>
    <dgm:pt modelId="{C7AEDD7D-61FF-4AC2-B90D-FA320F16F925}" type="pres">
      <dgm:prSet presAssocID="{73820110-CCDE-49FE-9D8E-C9FD832E3B59}" presName="textRect" presStyleLbl="revTx" presStyleIdx="1" presStyleCnt="8">
        <dgm:presLayoutVars>
          <dgm:chMax val="1"/>
          <dgm:chPref val="1"/>
        </dgm:presLayoutVars>
      </dgm:prSet>
      <dgm:spPr/>
    </dgm:pt>
    <dgm:pt modelId="{F009B733-0550-4CA5-8B3F-18BCF1B87785}" type="pres">
      <dgm:prSet presAssocID="{E892C025-B516-4C81-84B2-58A3D1849CEE}" presName="sibTrans" presStyleCnt="0"/>
      <dgm:spPr/>
    </dgm:pt>
    <dgm:pt modelId="{6EC1527C-D492-4B24-9BC3-2C08720A8D2A}" type="pres">
      <dgm:prSet presAssocID="{C94B7FFF-BACC-4E7B-B382-F27292E0EB7D}" presName="compNode" presStyleCnt="0"/>
      <dgm:spPr/>
    </dgm:pt>
    <dgm:pt modelId="{ADBA8BF2-1A25-490A-9DFE-2D51532C5429}" type="pres">
      <dgm:prSet presAssocID="{C94B7FFF-BACC-4E7B-B382-F27292E0EB7D}" presName="iconBgRect" presStyleLbl="bgShp" presStyleIdx="2" presStyleCnt="8"/>
      <dgm:spPr/>
    </dgm:pt>
    <dgm:pt modelId="{27744391-850D-4697-A8BF-5CD172498453}" type="pres">
      <dgm:prSet presAssocID="{C94B7FFF-BACC-4E7B-B382-F27292E0EB7D}" presName="iconRect" presStyleLbl="node1" presStyleIdx="2" presStyleCnt="8"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6853ECCE-25D3-41CB-9E04-2B69120478A9}" type="pres">
      <dgm:prSet presAssocID="{C94B7FFF-BACC-4E7B-B382-F27292E0EB7D}" presName="spaceRect" presStyleCnt="0"/>
      <dgm:spPr/>
    </dgm:pt>
    <dgm:pt modelId="{5C1EFBD1-BE16-48C9-87AE-4A8C38B4BE1A}" type="pres">
      <dgm:prSet presAssocID="{C94B7FFF-BACC-4E7B-B382-F27292E0EB7D}" presName="textRect" presStyleLbl="revTx" presStyleIdx="2" presStyleCnt="8">
        <dgm:presLayoutVars>
          <dgm:chMax val="1"/>
          <dgm:chPref val="1"/>
        </dgm:presLayoutVars>
      </dgm:prSet>
      <dgm:spPr/>
    </dgm:pt>
    <dgm:pt modelId="{AE7E4E64-D249-4B37-9481-2D5056D402E3}" type="pres">
      <dgm:prSet presAssocID="{72E6263B-D163-47ED-AE0E-73AD76902CCD}" presName="sibTrans" presStyleCnt="0"/>
      <dgm:spPr/>
    </dgm:pt>
    <dgm:pt modelId="{B48F1FA7-0AA3-4118-B9C3-2BC14F897004}" type="pres">
      <dgm:prSet presAssocID="{5588C117-8E9D-40B7-B2E3-9B59F4534D34}" presName="compNode" presStyleCnt="0"/>
      <dgm:spPr/>
    </dgm:pt>
    <dgm:pt modelId="{C6D23020-1BB8-42E7-845E-99BF088635A4}" type="pres">
      <dgm:prSet presAssocID="{5588C117-8E9D-40B7-B2E3-9B59F4534D34}" presName="iconBgRect" presStyleLbl="bgShp" presStyleIdx="3" presStyleCnt="8"/>
      <dgm:spPr/>
    </dgm:pt>
    <dgm:pt modelId="{AE38FA77-0445-4235-9864-4F032CBDBDDE}" type="pres">
      <dgm:prSet presAssocID="{5588C117-8E9D-40B7-B2E3-9B59F4534D34}" presName="iconRect" presStyleLbl="node1" presStyleIdx="3" presStyleCnt="8"/>
      <dgm:spPr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all center"/>
        </a:ext>
      </dgm:extLst>
    </dgm:pt>
    <dgm:pt modelId="{67D8D53F-F849-44CD-888B-F4B386253B43}" type="pres">
      <dgm:prSet presAssocID="{5588C117-8E9D-40B7-B2E3-9B59F4534D34}" presName="spaceRect" presStyleCnt="0"/>
      <dgm:spPr/>
    </dgm:pt>
    <dgm:pt modelId="{035B387E-ACB2-4D1E-A08E-1B928634B58C}" type="pres">
      <dgm:prSet presAssocID="{5588C117-8E9D-40B7-B2E3-9B59F4534D34}" presName="textRect" presStyleLbl="revTx" presStyleIdx="3" presStyleCnt="8">
        <dgm:presLayoutVars>
          <dgm:chMax val="1"/>
          <dgm:chPref val="1"/>
        </dgm:presLayoutVars>
      </dgm:prSet>
      <dgm:spPr/>
    </dgm:pt>
    <dgm:pt modelId="{98BEA3A5-A2CE-4A03-B6E4-95182F1604A1}" type="pres">
      <dgm:prSet presAssocID="{1183BB8B-37B9-469C-82CD-35B74F25C6EA}" presName="sibTrans" presStyleCnt="0"/>
      <dgm:spPr/>
    </dgm:pt>
    <dgm:pt modelId="{57703F3F-F5EF-4103-A59B-3B345C64F1E8}" type="pres">
      <dgm:prSet presAssocID="{6A00C56D-D871-4E41-A4FB-B305F3F1B88E}" presName="compNode" presStyleCnt="0"/>
      <dgm:spPr/>
    </dgm:pt>
    <dgm:pt modelId="{45FDB070-0114-463A-9686-461FB3123332}" type="pres">
      <dgm:prSet presAssocID="{6A00C56D-D871-4E41-A4FB-B305F3F1B88E}" presName="iconBgRect" presStyleLbl="bgShp" presStyleIdx="4" presStyleCnt="8"/>
      <dgm:spPr/>
    </dgm:pt>
    <dgm:pt modelId="{B8C36D2E-F8FB-4527-AEC3-16DE41562E46}" type="pres">
      <dgm:prSet presAssocID="{6A00C56D-D871-4E41-A4FB-B305F3F1B88E}" presName="iconRect" presStyleLbl="node1" presStyleIdx="4" presStyleCnt="8"/>
      <dgm:spPr>
        <a:blipFill>
          <a:blip xmlns:r="http://schemas.openxmlformats.org/officeDocument/2006/relationships"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eeting"/>
        </a:ext>
      </dgm:extLst>
    </dgm:pt>
    <dgm:pt modelId="{BE2F205A-1A75-4E73-A85B-C87FFC072D4F}" type="pres">
      <dgm:prSet presAssocID="{6A00C56D-D871-4E41-A4FB-B305F3F1B88E}" presName="spaceRect" presStyleCnt="0"/>
      <dgm:spPr/>
    </dgm:pt>
    <dgm:pt modelId="{3F53DCF9-56EC-4473-8D3E-211560395D68}" type="pres">
      <dgm:prSet presAssocID="{6A00C56D-D871-4E41-A4FB-B305F3F1B88E}" presName="textRect" presStyleLbl="revTx" presStyleIdx="4" presStyleCnt="8">
        <dgm:presLayoutVars>
          <dgm:chMax val="1"/>
          <dgm:chPref val="1"/>
        </dgm:presLayoutVars>
      </dgm:prSet>
      <dgm:spPr/>
    </dgm:pt>
    <dgm:pt modelId="{D23E008E-2769-41B4-BC1E-F92F1FB2FB95}" type="pres">
      <dgm:prSet presAssocID="{B5DBC2C3-21AD-42CA-AEFF-A7BACFD70BE2}" presName="sibTrans" presStyleCnt="0"/>
      <dgm:spPr/>
    </dgm:pt>
    <dgm:pt modelId="{DBB879D8-4A25-4696-9425-52024730F270}" type="pres">
      <dgm:prSet presAssocID="{7DB08BE1-49D7-4BED-8F21-9BFDED23F935}" presName="compNode" presStyleCnt="0"/>
      <dgm:spPr/>
    </dgm:pt>
    <dgm:pt modelId="{C5C2CCBC-6A35-48F0-BB16-C6CF577D4438}" type="pres">
      <dgm:prSet presAssocID="{7DB08BE1-49D7-4BED-8F21-9BFDED23F935}" presName="iconBgRect" presStyleLbl="bgShp" presStyleIdx="5" presStyleCnt="8"/>
      <dgm:spPr/>
    </dgm:pt>
    <dgm:pt modelId="{4C948545-C92E-4FB7-A8B8-F8C890BC8611}" type="pres">
      <dgm:prSet presAssocID="{7DB08BE1-49D7-4BED-8F21-9BFDED23F935}" presName="iconRect" presStyleLbl="node1" presStyleIdx="5" presStyleCnt="8"/>
      <dgm:spPr>
        <a:blipFill>
          <a:blip xmlns:r="http://schemas.openxmlformats.org/officeDocument/2006/relationships"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egaphone"/>
        </a:ext>
      </dgm:extLst>
    </dgm:pt>
    <dgm:pt modelId="{B0044658-F813-4C57-888E-A8F01E8B3D50}" type="pres">
      <dgm:prSet presAssocID="{7DB08BE1-49D7-4BED-8F21-9BFDED23F935}" presName="spaceRect" presStyleCnt="0"/>
      <dgm:spPr/>
    </dgm:pt>
    <dgm:pt modelId="{7E76FDD3-DA11-4CB2-85A0-5E2A9F75F8A1}" type="pres">
      <dgm:prSet presAssocID="{7DB08BE1-49D7-4BED-8F21-9BFDED23F935}" presName="textRect" presStyleLbl="revTx" presStyleIdx="5" presStyleCnt="8">
        <dgm:presLayoutVars>
          <dgm:chMax val="1"/>
          <dgm:chPref val="1"/>
        </dgm:presLayoutVars>
      </dgm:prSet>
      <dgm:spPr/>
    </dgm:pt>
    <dgm:pt modelId="{4B929490-0929-44A4-9F2A-CF7747DCE320}" type="pres">
      <dgm:prSet presAssocID="{3962998C-849D-4579-9B79-36907930274E}" presName="sibTrans" presStyleCnt="0"/>
      <dgm:spPr/>
    </dgm:pt>
    <dgm:pt modelId="{4972396A-ABC4-4EAB-B4C5-21C480271EA1}" type="pres">
      <dgm:prSet presAssocID="{E4B7EC43-0337-403B-8885-A90E5B4CB523}" presName="compNode" presStyleCnt="0"/>
      <dgm:spPr/>
    </dgm:pt>
    <dgm:pt modelId="{47BF113D-1DD4-4071-8B8D-EDDC94EDEA55}" type="pres">
      <dgm:prSet presAssocID="{E4B7EC43-0337-403B-8885-A90E5B4CB523}" presName="iconBgRect" presStyleLbl="bgShp" presStyleIdx="6" presStyleCnt="8"/>
      <dgm:spPr/>
    </dgm:pt>
    <dgm:pt modelId="{4CE08C69-4EA7-4AE7-AB87-936F347F7DC3}" type="pres">
      <dgm:prSet presAssocID="{E4B7EC43-0337-403B-8885-A90E5B4CB523}" presName="iconRect" presStyleLbl="node1" presStyleIdx="6" presStyleCnt="8"/>
      <dgm:spPr>
        <a:blipFill>
          <a:blip xmlns:r="http://schemas.openxmlformats.org/officeDocument/2006/relationships"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rketing"/>
        </a:ext>
      </dgm:extLst>
    </dgm:pt>
    <dgm:pt modelId="{C7D4956D-62AE-46E7-B83C-7155FDA76FF6}" type="pres">
      <dgm:prSet presAssocID="{E4B7EC43-0337-403B-8885-A90E5B4CB523}" presName="spaceRect" presStyleCnt="0"/>
      <dgm:spPr/>
    </dgm:pt>
    <dgm:pt modelId="{E7C88F5F-0168-4E4E-86B6-5E25A7E75EE6}" type="pres">
      <dgm:prSet presAssocID="{E4B7EC43-0337-403B-8885-A90E5B4CB523}" presName="textRect" presStyleLbl="revTx" presStyleIdx="6" presStyleCnt="8">
        <dgm:presLayoutVars>
          <dgm:chMax val="1"/>
          <dgm:chPref val="1"/>
        </dgm:presLayoutVars>
      </dgm:prSet>
      <dgm:spPr/>
    </dgm:pt>
    <dgm:pt modelId="{C067CF66-90AE-4604-937B-ED13738F904A}" type="pres">
      <dgm:prSet presAssocID="{92B24E23-58D4-41A5-AD39-AAE3A1750E42}" presName="sibTrans" presStyleCnt="0"/>
      <dgm:spPr/>
    </dgm:pt>
    <dgm:pt modelId="{80215696-AA4D-4327-B14F-AFFF3C4C4554}" type="pres">
      <dgm:prSet presAssocID="{2943F2B0-5D99-4481-9C15-46717E9A0BA9}" presName="compNode" presStyleCnt="0"/>
      <dgm:spPr/>
    </dgm:pt>
    <dgm:pt modelId="{FD41B628-2B77-48C6-B10F-9FF4D34AB821}" type="pres">
      <dgm:prSet presAssocID="{2943F2B0-5D99-4481-9C15-46717E9A0BA9}" presName="iconBgRect" presStyleLbl="bgShp" presStyleIdx="7" presStyleCnt="8"/>
      <dgm:spPr/>
    </dgm:pt>
    <dgm:pt modelId="{0E7B1EB2-2500-463B-8F02-CE057D920A31}" type="pres">
      <dgm:prSet presAssocID="{2943F2B0-5D99-4481-9C15-46717E9A0BA9}" presName="iconRect" presStyleLbl="node1" presStyleIdx="7" presStyleCnt="8"/>
      <dgm:spPr>
        <a:blipFill>
          <a:blip xmlns:r="http://schemas.openxmlformats.org/officeDocument/2006/relationships"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ourt"/>
        </a:ext>
      </dgm:extLst>
    </dgm:pt>
    <dgm:pt modelId="{893AE1C3-5DC3-4B85-B3E3-68A12B68A988}" type="pres">
      <dgm:prSet presAssocID="{2943F2B0-5D99-4481-9C15-46717E9A0BA9}" presName="spaceRect" presStyleCnt="0"/>
      <dgm:spPr/>
    </dgm:pt>
    <dgm:pt modelId="{65061910-06CE-4962-B7A1-0F3DD1F38624}" type="pres">
      <dgm:prSet presAssocID="{2943F2B0-5D99-4481-9C15-46717E9A0BA9}" presName="textRect" presStyleLbl="revTx" presStyleIdx="7" presStyleCnt="8">
        <dgm:presLayoutVars>
          <dgm:chMax val="1"/>
          <dgm:chPref val="1"/>
        </dgm:presLayoutVars>
      </dgm:prSet>
      <dgm:spPr/>
    </dgm:pt>
  </dgm:ptLst>
  <dgm:cxnLst>
    <dgm:cxn modelId="{E9DB6D08-A235-4F92-AA15-4FF1C5C54651}" type="presOf" srcId="{5588C117-8E9D-40B7-B2E3-9B59F4534D34}" destId="{035B387E-ACB2-4D1E-A08E-1B928634B58C}" srcOrd="0" destOrd="0" presId="urn:microsoft.com/office/officeart/2018/5/layout/IconCircleLabelList"/>
    <dgm:cxn modelId="{556CB30A-2CDB-4D8C-955A-FBBE7ED2B7A9}" srcId="{01515D11-A43B-494D-81A9-D63C058E4C96}" destId="{5588C117-8E9D-40B7-B2E3-9B59F4534D34}" srcOrd="3" destOrd="0" parTransId="{51BA9ED5-1CE8-404E-8A24-C513C86876C5}" sibTransId="{1183BB8B-37B9-469C-82CD-35B74F25C6EA}"/>
    <dgm:cxn modelId="{70CC5524-9853-4032-BD84-ACF0281B82AA}" srcId="{01515D11-A43B-494D-81A9-D63C058E4C96}" destId="{73820110-CCDE-49FE-9D8E-C9FD832E3B59}" srcOrd="1" destOrd="0" parTransId="{8D3D89E3-6B7F-4C5A-A9FF-CDF5175EF958}" sibTransId="{E892C025-B516-4C81-84B2-58A3D1849CEE}"/>
    <dgm:cxn modelId="{8F73A929-D778-4240-BD9A-D6E851C06813}" type="presOf" srcId="{6A00C56D-D871-4E41-A4FB-B305F3F1B88E}" destId="{3F53DCF9-56EC-4473-8D3E-211560395D68}" srcOrd="0" destOrd="0" presId="urn:microsoft.com/office/officeart/2018/5/layout/IconCircleLabelList"/>
    <dgm:cxn modelId="{F346F63D-27E0-45E8-B826-6E127B91EAF8}" srcId="{01515D11-A43B-494D-81A9-D63C058E4C96}" destId="{E4B7EC43-0337-403B-8885-A90E5B4CB523}" srcOrd="6" destOrd="0" parTransId="{3C22A59F-5230-4A8F-8C7B-998A01D17468}" sibTransId="{92B24E23-58D4-41A5-AD39-AAE3A1750E42}"/>
    <dgm:cxn modelId="{3A97A54B-E095-4628-9691-E035EE322AAC}" srcId="{01515D11-A43B-494D-81A9-D63C058E4C96}" destId="{C94B7FFF-BACC-4E7B-B382-F27292E0EB7D}" srcOrd="2" destOrd="0" parTransId="{7EA8AB19-0583-4D5E-BDFB-36CA87B51DE9}" sibTransId="{72E6263B-D163-47ED-AE0E-73AD76902CCD}"/>
    <dgm:cxn modelId="{EE2CFD6D-4EC9-4E66-A4EF-47368695AFB3}" srcId="{01515D11-A43B-494D-81A9-D63C058E4C96}" destId="{3B893502-7A75-41C2-A6D8-210E067D4D94}" srcOrd="0" destOrd="0" parTransId="{7E78F376-9115-4CFB-A56F-3EB3BEB6C909}" sibTransId="{BB5D7CDB-9CE4-441B-BE66-841F7AEECE7A}"/>
    <dgm:cxn modelId="{CF95657C-9FF8-4353-8F0E-394508D0A9A5}" type="presOf" srcId="{01515D11-A43B-494D-81A9-D63C058E4C96}" destId="{4C9CBCF9-5B2D-45B8-9AEC-5F04412C9B7C}" srcOrd="0" destOrd="0" presId="urn:microsoft.com/office/officeart/2018/5/layout/IconCircleLabelList"/>
    <dgm:cxn modelId="{A9370F83-2466-4FD5-A18B-53A3992F5A96}" type="presOf" srcId="{E4B7EC43-0337-403B-8885-A90E5B4CB523}" destId="{E7C88F5F-0168-4E4E-86B6-5E25A7E75EE6}" srcOrd="0" destOrd="0" presId="urn:microsoft.com/office/officeart/2018/5/layout/IconCircleLabelList"/>
    <dgm:cxn modelId="{AB1D6791-E4D0-4013-A9BE-48AD18D87391}" type="presOf" srcId="{2943F2B0-5D99-4481-9C15-46717E9A0BA9}" destId="{65061910-06CE-4962-B7A1-0F3DD1F38624}" srcOrd="0" destOrd="0" presId="urn:microsoft.com/office/officeart/2018/5/layout/IconCircleLabelList"/>
    <dgm:cxn modelId="{DE00C594-495E-4C82-8360-8F7F6D3C43B3}" type="presOf" srcId="{7DB08BE1-49D7-4BED-8F21-9BFDED23F935}" destId="{7E76FDD3-DA11-4CB2-85A0-5E2A9F75F8A1}" srcOrd="0" destOrd="0" presId="urn:microsoft.com/office/officeart/2018/5/layout/IconCircleLabelList"/>
    <dgm:cxn modelId="{7183979D-F04B-46C7-BE60-8035921197C0}" type="presOf" srcId="{C94B7FFF-BACC-4E7B-B382-F27292E0EB7D}" destId="{5C1EFBD1-BE16-48C9-87AE-4A8C38B4BE1A}" srcOrd="0" destOrd="0" presId="urn:microsoft.com/office/officeart/2018/5/layout/IconCircleLabelList"/>
    <dgm:cxn modelId="{1844F7A3-EAF3-4770-9556-8A3D8D73139E}" srcId="{01515D11-A43B-494D-81A9-D63C058E4C96}" destId="{6A00C56D-D871-4E41-A4FB-B305F3F1B88E}" srcOrd="4" destOrd="0" parTransId="{51A7515E-F60F-4E2C-9CEF-10AEA8C86F78}" sibTransId="{B5DBC2C3-21AD-42CA-AEFF-A7BACFD70BE2}"/>
    <dgm:cxn modelId="{B99EA2A5-AD33-4942-A156-76492A87590F}" type="presOf" srcId="{73820110-CCDE-49FE-9D8E-C9FD832E3B59}" destId="{C7AEDD7D-61FF-4AC2-B90D-FA320F16F925}" srcOrd="0" destOrd="0" presId="urn:microsoft.com/office/officeart/2018/5/layout/IconCircleLabelList"/>
    <dgm:cxn modelId="{E32281A8-BB95-40F6-A27E-DDD1316F038B}" srcId="{01515D11-A43B-494D-81A9-D63C058E4C96}" destId="{7DB08BE1-49D7-4BED-8F21-9BFDED23F935}" srcOrd="5" destOrd="0" parTransId="{CBBBCC62-C1AD-453B-8E32-655AF82EF5C5}" sibTransId="{3962998C-849D-4579-9B79-36907930274E}"/>
    <dgm:cxn modelId="{D7BBE6B2-AE88-4BF9-BAED-6B4B045AEA37}" srcId="{01515D11-A43B-494D-81A9-D63C058E4C96}" destId="{2943F2B0-5D99-4481-9C15-46717E9A0BA9}" srcOrd="7" destOrd="0" parTransId="{3CD1C8D8-D092-4D24-ACE8-9BF324EDDBD5}" sibTransId="{5E4C7B94-F5C4-4266-9FB5-F3BB3DF4C75E}"/>
    <dgm:cxn modelId="{650617D9-22EE-4614-815A-213EDD8CBD0A}" type="presOf" srcId="{3B893502-7A75-41C2-A6D8-210E067D4D94}" destId="{4C5EB254-3CEC-41BF-AF2A-5A7311B2F993}" srcOrd="0" destOrd="0" presId="urn:microsoft.com/office/officeart/2018/5/layout/IconCircleLabelList"/>
    <dgm:cxn modelId="{8DE6A36C-702C-43A5-BC72-4FAD8EABB6D2}" type="presParOf" srcId="{4C9CBCF9-5B2D-45B8-9AEC-5F04412C9B7C}" destId="{4951937E-FC9F-4905-A8FB-F147DAE6FDD9}" srcOrd="0" destOrd="0" presId="urn:microsoft.com/office/officeart/2018/5/layout/IconCircleLabelList"/>
    <dgm:cxn modelId="{AFC8F996-10AA-45F2-8D6C-A6F134140567}" type="presParOf" srcId="{4951937E-FC9F-4905-A8FB-F147DAE6FDD9}" destId="{EEB261C5-10B2-434E-8A16-75A0A1ADFB88}" srcOrd="0" destOrd="0" presId="urn:microsoft.com/office/officeart/2018/5/layout/IconCircleLabelList"/>
    <dgm:cxn modelId="{7FB2F3E7-F884-493A-86AB-9B68364F51FE}" type="presParOf" srcId="{4951937E-FC9F-4905-A8FB-F147DAE6FDD9}" destId="{D0DCB7F7-C255-473B-BEF7-3F73BC460026}" srcOrd="1" destOrd="0" presId="urn:microsoft.com/office/officeart/2018/5/layout/IconCircleLabelList"/>
    <dgm:cxn modelId="{C3B21A88-DD30-4726-83E5-03F2C4DD089F}" type="presParOf" srcId="{4951937E-FC9F-4905-A8FB-F147DAE6FDD9}" destId="{CBBFE813-6FED-4645-8F05-FAF66738A43A}" srcOrd="2" destOrd="0" presId="urn:microsoft.com/office/officeart/2018/5/layout/IconCircleLabelList"/>
    <dgm:cxn modelId="{DD2BA771-33C9-449E-B7FB-88F77B91B242}" type="presParOf" srcId="{4951937E-FC9F-4905-A8FB-F147DAE6FDD9}" destId="{4C5EB254-3CEC-41BF-AF2A-5A7311B2F993}" srcOrd="3" destOrd="0" presId="urn:microsoft.com/office/officeart/2018/5/layout/IconCircleLabelList"/>
    <dgm:cxn modelId="{EEC4C0D2-9ECA-44AE-B21B-A48185178682}" type="presParOf" srcId="{4C9CBCF9-5B2D-45B8-9AEC-5F04412C9B7C}" destId="{4748FB00-5600-428F-BB47-8449ECD2F55F}" srcOrd="1" destOrd="0" presId="urn:microsoft.com/office/officeart/2018/5/layout/IconCircleLabelList"/>
    <dgm:cxn modelId="{F3DB0B56-AFCD-45D8-B2CB-61EAF21F701A}" type="presParOf" srcId="{4C9CBCF9-5B2D-45B8-9AEC-5F04412C9B7C}" destId="{576679F3-EB19-4B27-98B6-CD674BBD92E2}" srcOrd="2" destOrd="0" presId="urn:microsoft.com/office/officeart/2018/5/layout/IconCircleLabelList"/>
    <dgm:cxn modelId="{9E0F5128-8532-4E88-BF11-34A9CD873AC1}" type="presParOf" srcId="{576679F3-EB19-4B27-98B6-CD674BBD92E2}" destId="{50417006-F284-4E95-8B61-ADFB7B04E838}" srcOrd="0" destOrd="0" presId="urn:microsoft.com/office/officeart/2018/5/layout/IconCircleLabelList"/>
    <dgm:cxn modelId="{8F205804-C490-43FA-A561-647066944FEC}" type="presParOf" srcId="{576679F3-EB19-4B27-98B6-CD674BBD92E2}" destId="{B232BEF1-26EE-4463-A619-3873A23AD81B}" srcOrd="1" destOrd="0" presId="urn:microsoft.com/office/officeart/2018/5/layout/IconCircleLabelList"/>
    <dgm:cxn modelId="{0D129C9C-2A33-4635-9EBB-0A788B1A7EA6}" type="presParOf" srcId="{576679F3-EB19-4B27-98B6-CD674BBD92E2}" destId="{8B4E457D-04A4-494B-B043-2EED69730561}" srcOrd="2" destOrd="0" presId="urn:microsoft.com/office/officeart/2018/5/layout/IconCircleLabelList"/>
    <dgm:cxn modelId="{D690F84E-205A-4FC9-8020-9EAB92D2D3DA}" type="presParOf" srcId="{576679F3-EB19-4B27-98B6-CD674BBD92E2}" destId="{C7AEDD7D-61FF-4AC2-B90D-FA320F16F925}" srcOrd="3" destOrd="0" presId="urn:microsoft.com/office/officeart/2018/5/layout/IconCircleLabelList"/>
    <dgm:cxn modelId="{57E6D896-2B14-466C-B558-04193B266774}" type="presParOf" srcId="{4C9CBCF9-5B2D-45B8-9AEC-5F04412C9B7C}" destId="{F009B733-0550-4CA5-8B3F-18BCF1B87785}" srcOrd="3" destOrd="0" presId="urn:microsoft.com/office/officeart/2018/5/layout/IconCircleLabelList"/>
    <dgm:cxn modelId="{A73E4F92-558B-4CB0-8570-B91C8D2C660B}" type="presParOf" srcId="{4C9CBCF9-5B2D-45B8-9AEC-5F04412C9B7C}" destId="{6EC1527C-D492-4B24-9BC3-2C08720A8D2A}" srcOrd="4" destOrd="0" presId="urn:microsoft.com/office/officeart/2018/5/layout/IconCircleLabelList"/>
    <dgm:cxn modelId="{D93F0562-F894-4B45-86C0-6498143ACBF4}" type="presParOf" srcId="{6EC1527C-D492-4B24-9BC3-2C08720A8D2A}" destId="{ADBA8BF2-1A25-490A-9DFE-2D51532C5429}" srcOrd="0" destOrd="0" presId="urn:microsoft.com/office/officeart/2018/5/layout/IconCircleLabelList"/>
    <dgm:cxn modelId="{10A97C16-AD29-4AF4-A94B-3271BE8E4211}" type="presParOf" srcId="{6EC1527C-D492-4B24-9BC3-2C08720A8D2A}" destId="{27744391-850D-4697-A8BF-5CD172498453}" srcOrd="1" destOrd="0" presId="urn:microsoft.com/office/officeart/2018/5/layout/IconCircleLabelList"/>
    <dgm:cxn modelId="{E4601261-5DC6-4142-A327-44F9B8C11BEE}" type="presParOf" srcId="{6EC1527C-D492-4B24-9BC3-2C08720A8D2A}" destId="{6853ECCE-25D3-41CB-9E04-2B69120478A9}" srcOrd="2" destOrd="0" presId="urn:microsoft.com/office/officeart/2018/5/layout/IconCircleLabelList"/>
    <dgm:cxn modelId="{2DB6A0F6-88FF-4BE5-B4CC-230C8C6B5E28}" type="presParOf" srcId="{6EC1527C-D492-4B24-9BC3-2C08720A8D2A}" destId="{5C1EFBD1-BE16-48C9-87AE-4A8C38B4BE1A}" srcOrd="3" destOrd="0" presId="urn:microsoft.com/office/officeart/2018/5/layout/IconCircleLabelList"/>
    <dgm:cxn modelId="{567F88AD-3670-4614-9854-E85C38591661}" type="presParOf" srcId="{4C9CBCF9-5B2D-45B8-9AEC-5F04412C9B7C}" destId="{AE7E4E64-D249-4B37-9481-2D5056D402E3}" srcOrd="5" destOrd="0" presId="urn:microsoft.com/office/officeart/2018/5/layout/IconCircleLabelList"/>
    <dgm:cxn modelId="{23323C53-2B06-44A2-BC66-BB3BBFA70562}" type="presParOf" srcId="{4C9CBCF9-5B2D-45B8-9AEC-5F04412C9B7C}" destId="{B48F1FA7-0AA3-4118-B9C3-2BC14F897004}" srcOrd="6" destOrd="0" presId="urn:microsoft.com/office/officeart/2018/5/layout/IconCircleLabelList"/>
    <dgm:cxn modelId="{0D62CBAE-D5DD-4877-A9F8-CF44EF0530CE}" type="presParOf" srcId="{B48F1FA7-0AA3-4118-B9C3-2BC14F897004}" destId="{C6D23020-1BB8-42E7-845E-99BF088635A4}" srcOrd="0" destOrd="0" presId="urn:microsoft.com/office/officeart/2018/5/layout/IconCircleLabelList"/>
    <dgm:cxn modelId="{4E9EE2DC-B33E-4E28-8F36-2B46DACA78E3}" type="presParOf" srcId="{B48F1FA7-0AA3-4118-B9C3-2BC14F897004}" destId="{AE38FA77-0445-4235-9864-4F032CBDBDDE}" srcOrd="1" destOrd="0" presId="urn:microsoft.com/office/officeart/2018/5/layout/IconCircleLabelList"/>
    <dgm:cxn modelId="{3E887336-C8E1-401C-97C8-BAA04FDA521E}" type="presParOf" srcId="{B48F1FA7-0AA3-4118-B9C3-2BC14F897004}" destId="{67D8D53F-F849-44CD-888B-F4B386253B43}" srcOrd="2" destOrd="0" presId="urn:microsoft.com/office/officeart/2018/5/layout/IconCircleLabelList"/>
    <dgm:cxn modelId="{51F420A5-AF75-47C2-AE46-D38B4505BC2B}" type="presParOf" srcId="{B48F1FA7-0AA3-4118-B9C3-2BC14F897004}" destId="{035B387E-ACB2-4D1E-A08E-1B928634B58C}" srcOrd="3" destOrd="0" presId="urn:microsoft.com/office/officeart/2018/5/layout/IconCircleLabelList"/>
    <dgm:cxn modelId="{53A90EFD-7AFA-47CD-8ED6-86FC7698916A}" type="presParOf" srcId="{4C9CBCF9-5B2D-45B8-9AEC-5F04412C9B7C}" destId="{98BEA3A5-A2CE-4A03-B6E4-95182F1604A1}" srcOrd="7" destOrd="0" presId="urn:microsoft.com/office/officeart/2018/5/layout/IconCircleLabelList"/>
    <dgm:cxn modelId="{BD86A5EC-5068-459C-9EBD-3ADA62A955EE}" type="presParOf" srcId="{4C9CBCF9-5B2D-45B8-9AEC-5F04412C9B7C}" destId="{57703F3F-F5EF-4103-A59B-3B345C64F1E8}" srcOrd="8" destOrd="0" presId="urn:microsoft.com/office/officeart/2018/5/layout/IconCircleLabelList"/>
    <dgm:cxn modelId="{F5CE1936-89F5-440D-A9D5-A8072112F2BA}" type="presParOf" srcId="{57703F3F-F5EF-4103-A59B-3B345C64F1E8}" destId="{45FDB070-0114-463A-9686-461FB3123332}" srcOrd="0" destOrd="0" presId="urn:microsoft.com/office/officeart/2018/5/layout/IconCircleLabelList"/>
    <dgm:cxn modelId="{8409C440-45D2-4B00-9C17-F5AF40F59435}" type="presParOf" srcId="{57703F3F-F5EF-4103-A59B-3B345C64F1E8}" destId="{B8C36D2E-F8FB-4527-AEC3-16DE41562E46}" srcOrd="1" destOrd="0" presId="urn:microsoft.com/office/officeart/2018/5/layout/IconCircleLabelList"/>
    <dgm:cxn modelId="{958376E8-01C9-4290-A237-821F8C106933}" type="presParOf" srcId="{57703F3F-F5EF-4103-A59B-3B345C64F1E8}" destId="{BE2F205A-1A75-4E73-A85B-C87FFC072D4F}" srcOrd="2" destOrd="0" presId="urn:microsoft.com/office/officeart/2018/5/layout/IconCircleLabelList"/>
    <dgm:cxn modelId="{2179B2C8-440E-4AD5-AF72-5B277B37A0DD}" type="presParOf" srcId="{57703F3F-F5EF-4103-A59B-3B345C64F1E8}" destId="{3F53DCF9-56EC-4473-8D3E-211560395D68}" srcOrd="3" destOrd="0" presId="urn:microsoft.com/office/officeart/2018/5/layout/IconCircleLabelList"/>
    <dgm:cxn modelId="{1F6ADF1B-E93D-4F3F-A5CD-1ABF335A39B3}" type="presParOf" srcId="{4C9CBCF9-5B2D-45B8-9AEC-5F04412C9B7C}" destId="{D23E008E-2769-41B4-BC1E-F92F1FB2FB95}" srcOrd="9" destOrd="0" presId="urn:microsoft.com/office/officeart/2018/5/layout/IconCircleLabelList"/>
    <dgm:cxn modelId="{8FD44055-DBFB-4E11-8022-C216905FC485}" type="presParOf" srcId="{4C9CBCF9-5B2D-45B8-9AEC-5F04412C9B7C}" destId="{DBB879D8-4A25-4696-9425-52024730F270}" srcOrd="10" destOrd="0" presId="urn:microsoft.com/office/officeart/2018/5/layout/IconCircleLabelList"/>
    <dgm:cxn modelId="{AB4619C7-7F0D-4B6E-9FB1-B47CE45816F8}" type="presParOf" srcId="{DBB879D8-4A25-4696-9425-52024730F270}" destId="{C5C2CCBC-6A35-48F0-BB16-C6CF577D4438}" srcOrd="0" destOrd="0" presId="urn:microsoft.com/office/officeart/2018/5/layout/IconCircleLabelList"/>
    <dgm:cxn modelId="{8BF2D5C3-F07B-4550-8EC8-54A70D6DE8D5}" type="presParOf" srcId="{DBB879D8-4A25-4696-9425-52024730F270}" destId="{4C948545-C92E-4FB7-A8B8-F8C890BC8611}" srcOrd="1" destOrd="0" presId="urn:microsoft.com/office/officeart/2018/5/layout/IconCircleLabelList"/>
    <dgm:cxn modelId="{991E69F5-7FC6-42EE-A93C-4CC1276B15BF}" type="presParOf" srcId="{DBB879D8-4A25-4696-9425-52024730F270}" destId="{B0044658-F813-4C57-888E-A8F01E8B3D50}" srcOrd="2" destOrd="0" presId="urn:microsoft.com/office/officeart/2018/5/layout/IconCircleLabelList"/>
    <dgm:cxn modelId="{FAA0EF20-F347-4562-A987-3A86218EA885}" type="presParOf" srcId="{DBB879D8-4A25-4696-9425-52024730F270}" destId="{7E76FDD3-DA11-4CB2-85A0-5E2A9F75F8A1}" srcOrd="3" destOrd="0" presId="urn:microsoft.com/office/officeart/2018/5/layout/IconCircleLabelList"/>
    <dgm:cxn modelId="{5325824E-6694-4EEF-8C3A-AA4A19B5C988}" type="presParOf" srcId="{4C9CBCF9-5B2D-45B8-9AEC-5F04412C9B7C}" destId="{4B929490-0929-44A4-9F2A-CF7747DCE320}" srcOrd="11" destOrd="0" presId="urn:microsoft.com/office/officeart/2018/5/layout/IconCircleLabelList"/>
    <dgm:cxn modelId="{C51D1FA0-6EA1-44D4-B608-6260319E0988}" type="presParOf" srcId="{4C9CBCF9-5B2D-45B8-9AEC-5F04412C9B7C}" destId="{4972396A-ABC4-4EAB-B4C5-21C480271EA1}" srcOrd="12" destOrd="0" presId="urn:microsoft.com/office/officeart/2018/5/layout/IconCircleLabelList"/>
    <dgm:cxn modelId="{FCD9CBE4-E511-4C32-B8AC-2D9C87490092}" type="presParOf" srcId="{4972396A-ABC4-4EAB-B4C5-21C480271EA1}" destId="{47BF113D-1DD4-4071-8B8D-EDDC94EDEA55}" srcOrd="0" destOrd="0" presId="urn:microsoft.com/office/officeart/2018/5/layout/IconCircleLabelList"/>
    <dgm:cxn modelId="{C9486C58-574D-459F-B0C7-81A0C5B13693}" type="presParOf" srcId="{4972396A-ABC4-4EAB-B4C5-21C480271EA1}" destId="{4CE08C69-4EA7-4AE7-AB87-936F347F7DC3}" srcOrd="1" destOrd="0" presId="urn:microsoft.com/office/officeart/2018/5/layout/IconCircleLabelList"/>
    <dgm:cxn modelId="{AC373B57-5782-4D00-B19D-B0615D5AC082}" type="presParOf" srcId="{4972396A-ABC4-4EAB-B4C5-21C480271EA1}" destId="{C7D4956D-62AE-46E7-B83C-7155FDA76FF6}" srcOrd="2" destOrd="0" presId="urn:microsoft.com/office/officeart/2018/5/layout/IconCircleLabelList"/>
    <dgm:cxn modelId="{92820853-D1F9-4E70-82F2-D3D2460BA28F}" type="presParOf" srcId="{4972396A-ABC4-4EAB-B4C5-21C480271EA1}" destId="{E7C88F5F-0168-4E4E-86B6-5E25A7E75EE6}" srcOrd="3" destOrd="0" presId="urn:microsoft.com/office/officeart/2018/5/layout/IconCircleLabelList"/>
    <dgm:cxn modelId="{F94D8A0D-0C44-4EE4-B3BA-8606D28DC481}" type="presParOf" srcId="{4C9CBCF9-5B2D-45B8-9AEC-5F04412C9B7C}" destId="{C067CF66-90AE-4604-937B-ED13738F904A}" srcOrd="13" destOrd="0" presId="urn:microsoft.com/office/officeart/2018/5/layout/IconCircleLabelList"/>
    <dgm:cxn modelId="{1FA650D7-7FBC-4E59-80BA-F45E7D7CD8D0}" type="presParOf" srcId="{4C9CBCF9-5B2D-45B8-9AEC-5F04412C9B7C}" destId="{80215696-AA4D-4327-B14F-AFFF3C4C4554}" srcOrd="14" destOrd="0" presId="urn:microsoft.com/office/officeart/2018/5/layout/IconCircleLabelList"/>
    <dgm:cxn modelId="{2D66C642-0815-4F5E-BF6B-3BFD499D5548}" type="presParOf" srcId="{80215696-AA4D-4327-B14F-AFFF3C4C4554}" destId="{FD41B628-2B77-48C6-B10F-9FF4D34AB821}" srcOrd="0" destOrd="0" presId="urn:microsoft.com/office/officeart/2018/5/layout/IconCircleLabelList"/>
    <dgm:cxn modelId="{8A86A829-7CBB-4614-B473-9A38BC0309E5}" type="presParOf" srcId="{80215696-AA4D-4327-B14F-AFFF3C4C4554}" destId="{0E7B1EB2-2500-463B-8F02-CE057D920A31}" srcOrd="1" destOrd="0" presId="urn:microsoft.com/office/officeart/2018/5/layout/IconCircleLabelList"/>
    <dgm:cxn modelId="{251342CC-0830-4BC3-B99F-7A0F400A902C}" type="presParOf" srcId="{80215696-AA4D-4327-B14F-AFFF3C4C4554}" destId="{893AE1C3-5DC3-4B85-B3E3-68A12B68A988}" srcOrd="2" destOrd="0" presId="urn:microsoft.com/office/officeart/2018/5/layout/IconCircleLabelList"/>
    <dgm:cxn modelId="{39A46FB1-255D-4670-B526-B16E11E41AB8}" type="presParOf" srcId="{80215696-AA4D-4327-B14F-AFFF3C4C4554}" destId="{65061910-06CE-4962-B7A1-0F3DD1F38624}" srcOrd="3" destOrd="0" presId="urn:microsoft.com/office/officeart/2018/5/layout/IconCircle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1C536C8-54C0-4F58-A1E3-B2179A3A258D}" type="doc">
      <dgm:prSet loTypeId="urn:microsoft.com/office/officeart/2005/8/layout/default" loCatId="list" qsTypeId="urn:microsoft.com/office/officeart/2005/8/quickstyle/simple4" qsCatId="simple" csTypeId="urn:microsoft.com/office/officeart/2005/8/colors/colorful1" csCatId="colorful"/>
      <dgm:spPr/>
      <dgm:t>
        <a:bodyPr/>
        <a:lstStyle/>
        <a:p>
          <a:endParaRPr lang="en-US"/>
        </a:p>
      </dgm:t>
    </dgm:pt>
    <dgm:pt modelId="{6D5AD88E-E05B-45C5-8EAE-668B95B4592B}">
      <dgm:prSet/>
      <dgm:spPr/>
      <dgm:t>
        <a:bodyPr/>
        <a:lstStyle/>
        <a:p>
          <a:r>
            <a:rPr lang="en-US"/>
            <a:t>5:5</a:t>
          </a:r>
        </a:p>
      </dgm:t>
    </dgm:pt>
    <dgm:pt modelId="{8D53FCAA-69B9-4FC4-8BDA-7E1CE40641D3}" type="parTrans" cxnId="{9EF21B11-964C-4873-BE03-3D864591DA43}">
      <dgm:prSet/>
      <dgm:spPr/>
      <dgm:t>
        <a:bodyPr/>
        <a:lstStyle/>
        <a:p>
          <a:endParaRPr lang="en-US"/>
        </a:p>
      </dgm:t>
    </dgm:pt>
    <dgm:pt modelId="{EFFAB830-7D89-4A3E-B136-47CD31886FC3}" type="sibTrans" cxnId="{9EF21B11-964C-4873-BE03-3D864591DA43}">
      <dgm:prSet/>
      <dgm:spPr/>
      <dgm:t>
        <a:bodyPr/>
        <a:lstStyle/>
        <a:p>
          <a:endParaRPr lang="en-US"/>
        </a:p>
      </dgm:t>
    </dgm:pt>
    <dgm:pt modelId="{D1D6F247-DCF8-4BE3-934B-1537C6AA15FB}">
      <dgm:prSet/>
      <dgm:spPr/>
      <dgm:t>
        <a:bodyPr/>
        <a:lstStyle/>
        <a:p>
          <a:r>
            <a:rPr lang="en-US"/>
            <a:t>70,000+</a:t>
          </a:r>
        </a:p>
      </dgm:t>
    </dgm:pt>
    <dgm:pt modelId="{75022632-4410-4EB8-B4D2-344A23D54CB4}" type="parTrans" cxnId="{8890C7C3-4E59-4EA0-8B5B-B57BC6F078E4}">
      <dgm:prSet/>
      <dgm:spPr/>
      <dgm:t>
        <a:bodyPr/>
        <a:lstStyle/>
        <a:p>
          <a:endParaRPr lang="en-US"/>
        </a:p>
      </dgm:t>
    </dgm:pt>
    <dgm:pt modelId="{028519FE-84F4-4B0E-9A4D-78027ABC95D9}" type="sibTrans" cxnId="{8890C7C3-4E59-4EA0-8B5B-B57BC6F078E4}">
      <dgm:prSet/>
      <dgm:spPr/>
      <dgm:t>
        <a:bodyPr/>
        <a:lstStyle/>
        <a:p>
          <a:endParaRPr lang="en-US"/>
        </a:p>
      </dgm:t>
    </dgm:pt>
    <dgm:pt modelId="{746494EF-0D72-40C9-A4A5-E62E42BBE965}">
      <dgm:prSet/>
      <dgm:spPr/>
      <dgm:t>
        <a:bodyPr/>
        <a:lstStyle/>
        <a:p>
          <a:r>
            <a:rPr lang="en-US"/>
            <a:t>0-118</a:t>
          </a:r>
        </a:p>
      </dgm:t>
    </dgm:pt>
    <dgm:pt modelId="{AE749AF8-1261-49BE-B175-AF9D907A8DC8}" type="parTrans" cxnId="{80EF09F5-BEB2-421B-B210-9C9D981C0716}">
      <dgm:prSet/>
      <dgm:spPr/>
      <dgm:t>
        <a:bodyPr/>
        <a:lstStyle/>
        <a:p>
          <a:endParaRPr lang="en-US"/>
        </a:p>
      </dgm:t>
    </dgm:pt>
    <dgm:pt modelId="{97F2BD33-7D6D-4AB4-B549-AF411134503D}" type="sibTrans" cxnId="{80EF09F5-BEB2-421B-B210-9C9D981C0716}">
      <dgm:prSet/>
      <dgm:spPr/>
      <dgm:t>
        <a:bodyPr/>
        <a:lstStyle/>
        <a:p>
          <a:endParaRPr lang="en-US"/>
        </a:p>
      </dgm:t>
    </dgm:pt>
    <dgm:pt modelId="{C9770AC6-B476-4DF9-A535-4FB89A47808D}">
      <dgm:prSet/>
      <dgm:spPr/>
      <dgm:t>
        <a:bodyPr/>
        <a:lstStyle/>
        <a:p>
          <a:r>
            <a:rPr lang="en-US"/>
            <a:t>18</a:t>
          </a:r>
        </a:p>
      </dgm:t>
    </dgm:pt>
    <dgm:pt modelId="{034FC24D-89BF-4382-B863-3C788598CDB5}" type="parTrans" cxnId="{8AE11F8A-9D97-4A6D-AE88-02C94CC840CC}">
      <dgm:prSet/>
      <dgm:spPr/>
      <dgm:t>
        <a:bodyPr/>
        <a:lstStyle/>
        <a:p>
          <a:endParaRPr lang="en-US"/>
        </a:p>
      </dgm:t>
    </dgm:pt>
    <dgm:pt modelId="{877189D7-DA1C-4430-B12A-C3971B394E13}" type="sibTrans" cxnId="{8AE11F8A-9D97-4A6D-AE88-02C94CC840CC}">
      <dgm:prSet/>
      <dgm:spPr/>
      <dgm:t>
        <a:bodyPr/>
        <a:lstStyle/>
        <a:p>
          <a:endParaRPr lang="en-US"/>
        </a:p>
      </dgm:t>
    </dgm:pt>
    <dgm:pt modelId="{6569DB43-AC59-42D7-8ADD-CACB7B7F2DAF}">
      <dgm:prSet/>
      <dgm:spPr/>
      <dgm:t>
        <a:bodyPr/>
        <a:lstStyle/>
        <a:p>
          <a:r>
            <a:rPr lang="en-US"/>
            <a:t>1,000,000</a:t>
          </a:r>
        </a:p>
      </dgm:t>
    </dgm:pt>
    <dgm:pt modelId="{F16F3129-4EDB-4BD2-BCDC-E93928869410}" type="parTrans" cxnId="{799A039C-EC69-4746-8BD8-50EF5F72E1B1}">
      <dgm:prSet/>
      <dgm:spPr/>
      <dgm:t>
        <a:bodyPr/>
        <a:lstStyle/>
        <a:p>
          <a:endParaRPr lang="en-US"/>
        </a:p>
      </dgm:t>
    </dgm:pt>
    <dgm:pt modelId="{82F36237-3F04-47FC-8224-80287FC2BBAF}" type="sibTrans" cxnId="{799A039C-EC69-4746-8BD8-50EF5F72E1B1}">
      <dgm:prSet/>
      <dgm:spPr/>
      <dgm:t>
        <a:bodyPr/>
        <a:lstStyle/>
        <a:p>
          <a:endParaRPr lang="en-US"/>
        </a:p>
      </dgm:t>
    </dgm:pt>
    <dgm:pt modelId="{F175BD8D-1A3B-43B6-A8ED-030044B73DB2}" type="pres">
      <dgm:prSet presAssocID="{71C536C8-54C0-4F58-A1E3-B2179A3A258D}" presName="diagram" presStyleCnt="0">
        <dgm:presLayoutVars>
          <dgm:dir/>
          <dgm:resizeHandles val="exact"/>
        </dgm:presLayoutVars>
      </dgm:prSet>
      <dgm:spPr/>
    </dgm:pt>
    <dgm:pt modelId="{CD54E030-0D51-459C-B954-DD44D064151C}" type="pres">
      <dgm:prSet presAssocID="{6D5AD88E-E05B-45C5-8EAE-668B95B4592B}" presName="node" presStyleLbl="node1" presStyleIdx="0" presStyleCnt="5">
        <dgm:presLayoutVars>
          <dgm:bulletEnabled val="1"/>
        </dgm:presLayoutVars>
      </dgm:prSet>
      <dgm:spPr/>
    </dgm:pt>
    <dgm:pt modelId="{8C75A6D3-DE37-4584-A6C0-D4BEDDF31C4E}" type="pres">
      <dgm:prSet presAssocID="{EFFAB830-7D89-4A3E-B136-47CD31886FC3}" presName="sibTrans" presStyleCnt="0"/>
      <dgm:spPr/>
    </dgm:pt>
    <dgm:pt modelId="{E493B2E5-F0CC-4AC2-9E03-95ECE34D4EF4}" type="pres">
      <dgm:prSet presAssocID="{D1D6F247-DCF8-4BE3-934B-1537C6AA15FB}" presName="node" presStyleLbl="node1" presStyleIdx="1" presStyleCnt="5">
        <dgm:presLayoutVars>
          <dgm:bulletEnabled val="1"/>
        </dgm:presLayoutVars>
      </dgm:prSet>
      <dgm:spPr/>
    </dgm:pt>
    <dgm:pt modelId="{DD9DBF91-8AE7-4FDE-8CB7-8998A662B308}" type="pres">
      <dgm:prSet presAssocID="{028519FE-84F4-4B0E-9A4D-78027ABC95D9}" presName="sibTrans" presStyleCnt="0"/>
      <dgm:spPr/>
    </dgm:pt>
    <dgm:pt modelId="{68DE2748-5B40-4B8F-B137-CC61D8CBF323}" type="pres">
      <dgm:prSet presAssocID="{746494EF-0D72-40C9-A4A5-E62E42BBE965}" presName="node" presStyleLbl="node1" presStyleIdx="2" presStyleCnt="5">
        <dgm:presLayoutVars>
          <dgm:bulletEnabled val="1"/>
        </dgm:presLayoutVars>
      </dgm:prSet>
      <dgm:spPr/>
    </dgm:pt>
    <dgm:pt modelId="{903F17F5-C443-4704-A1C4-53E645326366}" type="pres">
      <dgm:prSet presAssocID="{97F2BD33-7D6D-4AB4-B549-AF411134503D}" presName="sibTrans" presStyleCnt="0"/>
      <dgm:spPr/>
    </dgm:pt>
    <dgm:pt modelId="{72A5C5FA-0929-4F12-B85C-EDDE4B27C939}" type="pres">
      <dgm:prSet presAssocID="{C9770AC6-B476-4DF9-A535-4FB89A47808D}" presName="node" presStyleLbl="node1" presStyleIdx="3" presStyleCnt="5">
        <dgm:presLayoutVars>
          <dgm:bulletEnabled val="1"/>
        </dgm:presLayoutVars>
      </dgm:prSet>
      <dgm:spPr/>
    </dgm:pt>
    <dgm:pt modelId="{72F88966-BEC7-4717-A343-8EDE8F7E475B}" type="pres">
      <dgm:prSet presAssocID="{877189D7-DA1C-4430-B12A-C3971B394E13}" presName="sibTrans" presStyleCnt="0"/>
      <dgm:spPr/>
    </dgm:pt>
    <dgm:pt modelId="{AA823999-58FE-4DF8-9B42-70F5B4A3D3D8}" type="pres">
      <dgm:prSet presAssocID="{6569DB43-AC59-42D7-8ADD-CACB7B7F2DAF}" presName="node" presStyleLbl="node1" presStyleIdx="4" presStyleCnt="5">
        <dgm:presLayoutVars>
          <dgm:bulletEnabled val="1"/>
        </dgm:presLayoutVars>
      </dgm:prSet>
      <dgm:spPr/>
    </dgm:pt>
  </dgm:ptLst>
  <dgm:cxnLst>
    <dgm:cxn modelId="{9EF21B11-964C-4873-BE03-3D864591DA43}" srcId="{71C536C8-54C0-4F58-A1E3-B2179A3A258D}" destId="{6D5AD88E-E05B-45C5-8EAE-668B95B4592B}" srcOrd="0" destOrd="0" parTransId="{8D53FCAA-69B9-4FC4-8BDA-7E1CE40641D3}" sibTransId="{EFFAB830-7D89-4A3E-B136-47CD31886FC3}"/>
    <dgm:cxn modelId="{2BBBB169-F818-4F6B-9182-68413744BB6A}" type="presOf" srcId="{746494EF-0D72-40C9-A4A5-E62E42BBE965}" destId="{68DE2748-5B40-4B8F-B137-CC61D8CBF323}" srcOrd="0" destOrd="0" presId="urn:microsoft.com/office/officeart/2005/8/layout/default"/>
    <dgm:cxn modelId="{6BE7D66F-A1FB-483B-AC3E-54509F3302C0}" type="presOf" srcId="{6D5AD88E-E05B-45C5-8EAE-668B95B4592B}" destId="{CD54E030-0D51-459C-B954-DD44D064151C}" srcOrd="0" destOrd="0" presId="urn:microsoft.com/office/officeart/2005/8/layout/default"/>
    <dgm:cxn modelId="{0959EF53-DA6A-4B39-B7AE-D6C5A0DDE7B4}" type="presOf" srcId="{6569DB43-AC59-42D7-8ADD-CACB7B7F2DAF}" destId="{AA823999-58FE-4DF8-9B42-70F5B4A3D3D8}" srcOrd="0" destOrd="0" presId="urn:microsoft.com/office/officeart/2005/8/layout/default"/>
    <dgm:cxn modelId="{8AE11F8A-9D97-4A6D-AE88-02C94CC840CC}" srcId="{71C536C8-54C0-4F58-A1E3-B2179A3A258D}" destId="{C9770AC6-B476-4DF9-A535-4FB89A47808D}" srcOrd="3" destOrd="0" parTransId="{034FC24D-89BF-4382-B863-3C788598CDB5}" sibTransId="{877189D7-DA1C-4430-B12A-C3971B394E13}"/>
    <dgm:cxn modelId="{487DEC8E-FD44-4B9A-87E1-4B5F98FD6546}" type="presOf" srcId="{C9770AC6-B476-4DF9-A535-4FB89A47808D}" destId="{72A5C5FA-0929-4F12-B85C-EDDE4B27C939}" srcOrd="0" destOrd="0" presId="urn:microsoft.com/office/officeart/2005/8/layout/default"/>
    <dgm:cxn modelId="{6600C598-4509-4B7D-B7B4-4C8645A8FB50}" type="presOf" srcId="{D1D6F247-DCF8-4BE3-934B-1537C6AA15FB}" destId="{E493B2E5-F0CC-4AC2-9E03-95ECE34D4EF4}" srcOrd="0" destOrd="0" presId="urn:microsoft.com/office/officeart/2005/8/layout/default"/>
    <dgm:cxn modelId="{799A039C-EC69-4746-8BD8-50EF5F72E1B1}" srcId="{71C536C8-54C0-4F58-A1E3-B2179A3A258D}" destId="{6569DB43-AC59-42D7-8ADD-CACB7B7F2DAF}" srcOrd="4" destOrd="0" parTransId="{F16F3129-4EDB-4BD2-BCDC-E93928869410}" sibTransId="{82F36237-3F04-47FC-8224-80287FC2BBAF}"/>
    <dgm:cxn modelId="{8890C7C3-4E59-4EA0-8B5B-B57BC6F078E4}" srcId="{71C536C8-54C0-4F58-A1E3-B2179A3A258D}" destId="{D1D6F247-DCF8-4BE3-934B-1537C6AA15FB}" srcOrd="1" destOrd="0" parTransId="{75022632-4410-4EB8-B4D2-344A23D54CB4}" sibTransId="{028519FE-84F4-4B0E-9A4D-78027ABC95D9}"/>
    <dgm:cxn modelId="{21B7A2E0-B5A9-4376-8985-2341D3765C1D}" type="presOf" srcId="{71C536C8-54C0-4F58-A1E3-B2179A3A258D}" destId="{F175BD8D-1A3B-43B6-A8ED-030044B73DB2}" srcOrd="0" destOrd="0" presId="urn:microsoft.com/office/officeart/2005/8/layout/default"/>
    <dgm:cxn modelId="{80EF09F5-BEB2-421B-B210-9C9D981C0716}" srcId="{71C536C8-54C0-4F58-A1E3-B2179A3A258D}" destId="{746494EF-0D72-40C9-A4A5-E62E42BBE965}" srcOrd="2" destOrd="0" parTransId="{AE749AF8-1261-49BE-B175-AF9D907A8DC8}" sibTransId="{97F2BD33-7D6D-4AB4-B549-AF411134503D}"/>
    <dgm:cxn modelId="{6E3690F6-39A6-4254-9A5B-E8A10FBDF750}" type="presParOf" srcId="{F175BD8D-1A3B-43B6-A8ED-030044B73DB2}" destId="{CD54E030-0D51-459C-B954-DD44D064151C}" srcOrd="0" destOrd="0" presId="urn:microsoft.com/office/officeart/2005/8/layout/default"/>
    <dgm:cxn modelId="{A1D5A8AE-F468-46DA-9D14-1C84911993B6}" type="presParOf" srcId="{F175BD8D-1A3B-43B6-A8ED-030044B73DB2}" destId="{8C75A6D3-DE37-4584-A6C0-D4BEDDF31C4E}" srcOrd="1" destOrd="0" presId="urn:microsoft.com/office/officeart/2005/8/layout/default"/>
    <dgm:cxn modelId="{B69DBEBA-ADFE-4404-9F68-0DD202942FCD}" type="presParOf" srcId="{F175BD8D-1A3B-43B6-A8ED-030044B73DB2}" destId="{E493B2E5-F0CC-4AC2-9E03-95ECE34D4EF4}" srcOrd="2" destOrd="0" presId="urn:microsoft.com/office/officeart/2005/8/layout/default"/>
    <dgm:cxn modelId="{0820C10B-8155-4360-A057-5E2E78B1E128}" type="presParOf" srcId="{F175BD8D-1A3B-43B6-A8ED-030044B73DB2}" destId="{DD9DBF91-8AE7-4FDE-8CB7-8998A662B308}" srcOrd="3" destOrd="0" presId="urn:microsoft.com/office/officeart/2005/8/layout/default"/>
    <dgm:cxn modelId="{7F1B5995-C9D7-4BA0-8258-63FC595B697C}" type="presParOf" srcId="{F175BD8D-1A3B-43B6-A8ED-030044B73DB2}" destId="{68DE2748-5B40-4B8F-B137-CC61D8CBF323}" srcOrd="4" destOrd="0" presId="urn:microsoft.com/office/officeart/2005/8/layout/default"/>
    <dgm:cxn modelId="{83F27620-E678-429C-8F11-632B12215C6B}" type="presParOf" srcId="{F175BD8D-1A3B-43B6-A8ED-030044B73DB2}" destId="{903F17F5-C443-4704-A1C4-53E645326366}" srcOrd="5" destOrd="0" presId="urn:microsoft.com/office/officeart/2005/8/layout/default"/>
    <dgm:cxn modelId="{4793F919-C89C-424A-BF58-A05FF51BF39D}" type="presParOf" srcId="{F175BD8D-1A3B-43B6-A8ED-030044B73DB2}" destId="{72A5C5FA-0929-4F12-B85C-EDDE4B27C939}" srcOrd="6" destOrd="0" presId="urn:microsoft.com/office/officeart/2005/8/layout/default"/>
    <dgm:cxn modelId="{5FC8B0AA-177A-4613-B718-3FD3D68E6B16}" type="presParOf" srcId="{F175BD8D-1A3B-43B6-A8ED-030044B73DB2}" destId="{72F88966-BEC7-4717-A343-8EDE8F7E475B}" srcOrd="7" destOrd="0" presId="urn:microsoft.com/office/officeart/2005/8/layout/default"/>
    <dgm:cxn modelId="{EE851F77-9CB2-478F-92DB-F255337898CC}" type="presParOf" srcId="{F175BD8D-1A3B-43B6-A8ED-030044B73DB2}" destId="{AA823999-58FE-4DF8-9B42-70F5B4A3D3D8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52B971-81D4-446A-9FE7-9939D1D36632}">
      <dsp:nvSpPr>
        <dsp:cNvPr id="0" name=""/>
        <dsp:cNvSpPr/>
      </dsp:nvSpPr>
      <dsp:spPr>
        <a:xfrm>
          <a:off x="1933551" y="58932"/>
          <a:ext cx="1761807" cy="2642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57150" rIns="57150" bIns="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 </a:t>
          </a:r>
        </a:p>
      </dsp:txBody>
      <dsp:txXfrm>
        <a:off x="1933551" y="58932"/>
        <a:ext cx="1761807" cy="264271"/>
      </dsp:txXfrm>
    </dsp:sp>
    <dsp:sp modelId="{15622B59-95EF-4BDF-B3A1-432D57B2A96A}">
      <dsp:nvSpPr>
        <dsp:cNvPr id="0" name=""/>
        <dsp:cNvSpPr/>
      </dsp:nvSpPr>
      <dsp:spPr>
        <a:xfrm>
          <a:off x="1978336" y="369381"/>
          <a:ext cx="1761807" cy="1761807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D0A5D3D-EFE6-4C92-A5C1-1EDEE2973AFA}">
      <dsp:nvSpPr>
        <dsp:cNvPr id="0" name=""/>
        <dsp:cNvSpPr/>
      </dsp:nvSpPr>
      <dsp:spPr>
        <a:xfrm>
          <a:off x="3881596" y="58932"/>
          <a:ext cx="1761807" cy="2642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57150" rIns="57150" bIns="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 dirty="0"/>
        </a:p>
      </dsp:txBody>
      <dsp:txXfrm>
        <a:off x="3881596" y="58932"/>
        <a:ext cx="1761807" cy="264271"/>
      </dsp:txXfrm>
    </dsp:sp>
    <dsp:sp modelId="{3668530B-8DEC-451A-9365-785706C13BDB}">
      <dsp:nvSpPr>
        <dsp:cNvPr id="0" name=""/>
        <dsp:cNvSpPr/>
      </dsp:nvSpPr>
      <dsp:spPr>
        <a:xfrm>
          <a:off x="3870620" y="389836"/>
          <a:ext cx="1761807" cy="1761807"/>
        </a:xfrm>
        <a:prstGeom prst="rect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6384E0E-CC1A-480D-A860-3DC39E4D8D0F}">
      <dsp:nvSpPr>
        <dsp:cNvPr id="0" name=""/>
        <dsp:cNvSpPr/>
      </dsp:nvSpPr>
      <dsp:spPr>
        <a:xfrm>
          <a:off x="5829641" y="58932"/>
          <a:ext cx="1761807" cy="2642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57150" rIns="57150" bIns="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>
        <a:off x="5829641" y="58932"/>
        <a:ext cx="1761807" cy="264271"/>
      </dsp:txXfrm>
    </dsp:sp>
    <dsp:sp modelId="{DF997817-5D84-4669-8CE3-206F852AD05A}">
      <dsp:nvSpPr>
        <dsp:cNvPr id="0" name=""/>
        <dsp:cNvSpPr/>
      </dsp:nvSpPr>
      <dsp:spPr>
        <a:xfrm>
          <a:off x="5829641" y="375583"/>
          <a:ext cx="1761807" cy="1761807"/>
        </a:xfrm>
        <a:prstGeom prst="rect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EB2B21-598F-4AE6-B90E-11E80A180D96}">
      <dsp:nvSpPr>
        <dsp:cNvPr id="0" name=""/>
        <dsp:cNvSpPr/>
      </dsp:nvSpPr>
      <dsp:spPr>
        <a:xfrm>
          <a:off x="1933551" y="2313571"/>
          <a:ext cx="1761807" cy="2642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57150" rIns="57150" bIns="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 </a:t>
          </a:r>
        </a:p>
      </dsp:txBody>
      <dsp:txXfrm>
        <a:off x="1933551" y="2313571"/>
        <a:ext cx="1761807" cy="264271"/>
      </dsp:txXfrm>
    </dsp:sp>
    <dsp:sp modelId="{2B0BEFA9-435F-43E1-8B98-D9928A747DFC}">
      <dsp:nvSpPr>
        <dsp:cNvPr id="0" name=""/>
        <dsp:cNvSpPr/>
      </dsp:nvSpPr>
      <dsp:spPr>
        <a:xfrm>
          <a:off x="1933551" y="2630221"/>
          <a:ext cx="1761807" cy="1761807"/>
        </a:xfrm>
        <a:prstGeom prst="rect">
          <a:avLst/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7BE35B4-AC3C-43F3-9AEB-7671107918ED}">
      <dsp:nvSpPr>
        <dsp:cNvPr id="0" name=""/>
        <dsp:cNvSpPr/>
      </dsp:nvSpPr>
      <dsp:spPr>
        <a:xfrm>
          <a:off x="3881596" y="2313571"/>
          <a:ext cx="1761807" cy="2642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57150" rIns="57150" bIns="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 </a:t>
          </a:r>
        </a:p>
      </dsp:txBody>
      <dsp:txXfrm>
        <a:off x="3881596" y="2313571"/>
        <a:ext cx="1761807" cy="264271"/>
      </dsp:txXfrm>
    </dsp:sp>
    <dsp:sp modelId="{C89523EF-8108-4945-9161-E9F6FB6C93D6}">
      <dsp:nvSpPr>
        <dsp:cNvPr id="0" name=""/>
        <dsp:cNvSpPr/>
      </dsp:nvSpPr>
      <dsp:spPr>
        <a:xfrm>
          <a:off x="3881596" y="2630221"/>
          <a:ext cx="1761807" cy="1761807"/>
        </a:xfrm>
        <a:prstGeom prst="rect">
          <a:avLst/>
        </a:prstGeom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03843F3-19FC-49F5-BBE0-5BECDD82F7F3}">
      <dsp:nvSpPr>
        <dsp:cNvPr id="0" name=""/>
        <dsp:cNvSpPr/>
      </dsp:nvSpPr>
      <dsp:spPr>
        <a:xfrm>
          <a:off x="5829641" y="2313571"/>
          <a:ext cx="1761807" cy="2642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57150" rIns="57150" bIns="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 </a:t>
          </a:r>
        </a:p>
      </dsp:txBody>
      <dsp:txXfrm>
        <a:off x="5829641" y="2313571"/>
        <a:ext cx="1761807" cy="264271"/>
      </dsp:txXfrm>
    </dsp:sp>
    <dsp:sp modelId="{2E9C21BA-DCC5-4418-A2E4-4A48DA7B24EE}">
      <dsp:nvSpPr>
        <dsp:cNvPr id="0" name=""/>
        <dsp:cNvSpPr/>
      </dsp:nvSpPr>
      <dsp:spPr>
        <a:xfrm>
          <a:off x="5829641" y="2630221"/>
          <a:ext cx="1761807" cy="1761807"/>
        </a:xfrm>
        <a:prstGeom prst="rect">
          <a:avLst/>
        </a:prstGeom>
        <a:blipFill>
          <a:blip xmlns:r="http://schemas.openxmlformats.org/officeDocument/2006/relationships"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DE5C196-5A09-4070-8FD6-279437DB654D}">
      <dsp:nvSpPr>
        <dsp:cNvPr id="0" name=""/>
        <dsp:cNvSpPr/>
      </dsp:nvSpPr>
      <dsp:spPr>
        <a:xfrm>
          <a:off x="1933551" y="4568209"/>
          <a:ext cx="1761807" cy="2642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57150" rIns="57150" bIns="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 dirty="0"/>
        </a:p>
      </dsp:txBody>
      <dsp:txXfrm>
        <a:off x="1933551" y="4568209"/>
        <a:ext cx="1761807" cy="264271"/>
      </dsp:txXfrm>
    </dsp:sp>
    <dsp:sp modelId="{FFAA11DB-D5D3-4B2B-8845-255CF8557CC8}">
      <dsp:nvSpPr>
        <dsp:cNvPr id="0" name=""/>
        <dsp:cNvSpPr/>
      </dsp:nvSpPr>
      <dsp:spPr>
        <a:xfrm>
          <a:off x="1933551" y="4884860"/>
          <a:ext cx="1761807" cy="1761807"/>
        </a:xfrm>
        <a:prstGeom prst="rect">
          <a:avLst/>
        </a:prstGeom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A27E88-DFD9-4456-BAF7-5F55179ABDC0}">
      <dsp:nvSpPr>
        <dsp:cNvPr id="0" name=""/>
        <dsp:cNvSpPr/>
      </dsp:nvSpPr>
      <dsp:spPr>
        <a:xfrm>
          <a:off x="3881596" y="4568209"/>
          <a:ext cx="1761807" cy="2642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57150" rIns="57150" bIns="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 dirty="0"/>
        </a:p>
      </dsp:txBody>
      <dsp:txXfrm>
        <a:off x="3881596" y="4568209"/>
        <a:ext cx="1761807" cy="264271"/>
      </dsp:txXfrm>
    </dsp:sp>
    <dsp:sp modelId="{17711309-8727-460B-A8ED-5E00997CD844}">
      <dsp:nvSpPr>
        <dsp:cNvPr id="0" name=""/>
        <dsp:cNvSpPr/>
      </dsp:nvSpPr>
      <dsp:spPr>
        <a:xfrm>
          <a:off x="3881596" y="4884860"/>
          <a:ext cx="1761807" cy="1761807"/>
        </a:xfrm>
        <a:prstGeom prst="rect">
          <a:avLst/>
        </a:prstGeom>
        <a:blipFill>
          <a:blip xmlns:r="http://schemas.openxmlformats.org/officeDocument/2006/relationships"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2F39874-429B-4F27-82FF-7BB2831F1C21}">
      <dsp:nvSpPr>
        <dsp:cNvPr id="0" name=""/>
        <dsp:cNvSpPr/>
      </dsp:nvSpPr>
      <dsp:spPr>
        <a:xfrm>
          <a:off x="5829641" y="4568209"/>
          <a:ext cx="1761807" cy="2642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57150" rIns="57150" bIns="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 dirty="0"/>
        </a:p>
      </dsp:txBody>
      <dsp:txXfrm>
        <a:off x="5829641" y="4568209"/>
        <a:ext cx="1761807" cy="264271"/>
      </dsp:txXfrm>
    </dsp:sp>
    <dsp:sp modelId="{59B112E3-AE97-4256-BF42-A1A5F03C7371}">
      <dsp:nvSpPr>
        <dsp:cNvPr id="0" name=""/>
        <dsp:cNvSpPr/>
      </dsp:nvSpPr>
      <dsp:spPr>
        <a:xfrm>
          <a:off x="5829641" y="4884860"/>
          <a:ext cx="1761807" cy="1761807"/>
        </a:xfrm>
        <a:prstGeom prst="rect">
          <a:avLst/>
        </a:prstGeom>
        <a:blipFill>
          <a:blip xmlns:r="http://schemas.openxmlformats.org/officeDocument/2006/relationships"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5000" b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B261C5-10B2-434E-8A16-75A0A1ADFB88}">
      <dsp:nvSpPr>
        <dsp:cNvPr id="0" name=""/>
        <dsp:cNvSpPr/>
      </dsp:nvSpPr>
      <dsp:spPr>
        <a:xfrm>
          <a:off x="415904" y="1789"/>
          <a:ext cx="941449" cy="941449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DCB7F7-C255-473B-BEF7-3F73BC460026}">
      <dsp:nvSpPr>
        <dsp:cNvPr id="0" name=""/>
        <dsp:cNvSpPr/>
      </dsp:nvSpPr>
      <dsp:spPr>
        <a:xfrm>
          <a:off x="616541" y="202426"/>
          <a:ext cx="540175" cy="540175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5EB254-3CEC-41BF-AF2A-5A7311B2F993}">
      <dsp:nvSpPr>
        <dsp:cNvPr id="0" name=""/>
        <dsp:cNvSpPr/>
      </dsp:nvSpPr>
      <dsp:spPr>
        <a:xfrm>
          <a:off x="114949" y="1236477"/>
          <a:ext cx="1543359" cy="6173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300" kern="1200"/>
            <a:t>CORE MH PROGRAMS AND PRESENTATIONS</a:t>
          </a:r>
        </a:p>
      </dsp:txBody>
      <dsp:txXfrm>
        <a:off x="114949" y="1236477"/>
        <a:ext cx="1543359" cy="617343"/>
      </dsp:txXfrm>
    </dsp:sp>
    <dsp:sp modelId="{50417006-F284-4E95-8B61-ADFB7B04E838}">
      <dsp:nvSpPr>
        <dsp:cNvPr id="0" name=""/>
        <dsp:cNvSpPr/>
      </dsp:nvSpPr>
      <dsp:spPr>
        <a:xfrm>
          <a:off x="2229351" y="1789"/>
          <a:ext cx="941449" cy="941449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232BEF1-26EE-4463-A619-3873A23AD81B}">
      <dsp:nvSpPr>
        <dsp:cNvPr id="0" name=""/>
        <dsp:cNvSpPr/>
      </dsp:nvSpPr>
      <dsp:spPr>
        <a:xfrm>
          <a:off x="2429988" y="202426"/>
          <a:ext cx="540175" cy="540175"/>
        </a:xfrm>
        <a:prstGeom prst="rect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AEDD7D-61FF-4AC2-B90D-FA320F16F925}">
      <dsp:nvSpPr>
        <dsp:cNvPr id="0" name=""/>
        <dsp:cNvSpPr/>
      </dsp:nvSpPr>
      <dsp:spPr>
        <a:xfrm>
          <a:off x="1928396" y="1236477"/>
          <a:ext cx="1543359" cy="6173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300" kern="1200"/>
            <a:t>PEER SUPPORT</a:t>
          </a:r>
        </a:p>
      </dsp:txBody>
      <dsp:txXfrm>
        <a:off x="1928396" y="1236477"/>
        <a:ext cx="1543359" cy="617343"/>
      </dsp:txXfrm>
    </dsp:sp>
    <dsp:sp modelId="{ADBA8BF2-1A25-490A-9DFE-2D51532C5429}">
      <dsp:nvSpPr>
        <dsp:cNvPr id="0" name=""/>
        <dsp:cNvSpPr/>
      </dsp:nvSpPr>
      <dsp:spPr>
        <a:xfrm>
          <a:off x="4042799" y="1789"/>
          <a:ext cx="941449" cy="941449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7744391-850D-4697-A8BF-5CD172498453}">
      <dsp:nvSpPr>
        <dsp:cNvPr id="0" name=""/>
        <dsp:cNvSpPr/>
      </dsp:nvSpPr>
      <dsp:spPr>
        <a:xfrm>
          <a:off x="4243435" y="202426"/>
          <a:ext cx="540175" cy="540175"/>
        </a:xfrm>
        <a:prstGeom prst="rect">
          <a:avLst/>
        </a:prstGeom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C1EFBD1-BE16-48C9-87AE-4A8C38B4BE1A}">
      <dsp:nvSpPr>
        <dsp:cNvPr id="0" name=""/>
        <dsp:cNvSpPr/>
      </dsp:nvSpPr>
      <dsp:spPr>
        <a:xfrm>
          <a:off x="3741843" y="1236477"/>
          <a:ext cx="1543359" cy="6173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300" kern="1200"/>
            <a:t>EMPLOYMENT COUNSELLING</a:t>
          </a:r>
        </a:p>
      </dsp:txBody>
      <dsp:txXfrm>
        <a:off x="3741843" y="1236477"/>
        <a:ext cx="1543359" cy="617343"/>
      </dsp:txXfrm>
    </dsp:sp>
    <dsp:sp modelId="{C6D23020-1BB8-42E7-845E-99BF088635A4}">
      <dsp:nvSpPr>
        <dsp:cNvPr id="0" name=""/>
        <dsp:cNvSpPr/>
      </dsp:nvSpPr>
      <dsp:spPr>
        <a:xfrm>
          <a:off x="5856246" y="1789"/>
          <a:ext cx="941449" cy="941449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E38FA77-0445-4235-9864-4F032CBDBDDE}">
      <dsp:nvSpPr>
        <dsp:cNvPr id="0" name=""/>
        <dsp:cNvSpPr/>
      </dsp:nvSpPr>
      <dsp:spPr>
        <a:xfrm>
          <a:off x="6056883" y="202426"/>
          <a:ext cx="540175" cy="540175"/>
        </a:xfrm>
        <a:prstGeom prst="rect">
          <a:avLst/>
        </a:prstGeom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5B387E-ACB2-4D1E-A08E-1B928634B58C}">
      <dsp:nvSpPr>
        <dsp:cNvPr id="0" name=""/>
        <dsp:cNvSpPr/>
      </dsp:nvSpPr>
      <dsp:spPr>
        <a:xfrm>
          <a:off x="5555291" y="1236477"/>
          <a:ext cx="1543359" cy="6173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300" kern="1200" dirty="0"/>
            <a:t>SELF HELP &amp; SUPPORT GROUPS</a:t>
          </a:r>
        </a:p>
      </dsp:txBody>
      <dsp:txXfrm>
        <a:off x="5555291" y="1236477"/>
        <a:ext cx="1543359" cy="617343"/>
      </dsp:txXfrm>
    </dsp:sp>
    <dsp:sp modelId="{45FDB070-0114-463A-9686-461FB3123332}">
      <dsp:nvSpPr>
        <dsp:cNvPr id="0" name=""/>
        <dsp:cNvSpPr/>
      </dsp:nvSpPr>
      <dsp:spPr>
        <a:xfrm>
          <a:off x="415904" y="2239660"/>
          <a:ext cx="941449" cy="941449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C36D2E-F8FB-4527-AEC3-16DE41562E46}">
      <dsp:nvSpPr>
        <dsp:cNvPr id="0" name=""/>
        <dsp:cNvSpPr/>
      </dsp:nvSpPr>
      <dsp:spPr>
        <a:xfrm>
          <a:off x="616541" y="2440297"/>
          <a:ext cx="540175" cy="540175"/>
        </a:xfrm>
        <a:prstGeom prst="rect">
          <a:avLst/>
        </a:prstGeom>
        <a:blipFill>
          <a:blip xmlns:r="http://schemas.openxmlformats.org/officeDocument/2006/relationships"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F53DCF9-56EC-4473-8D3E-211560395D68}">
      <dsp:nvSpPr>
        <dsp:cNvPr id="0" name=""/>
        <dsp:cNvSpPr/>
      </dsp:nvSpPr>
      <dsp:spPr>
        <a:xfrm>
          <a:off x="114949" y="3474348"/>
          <a:ext cx="1543359" cy="6173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300" kern="1200"/>
            <a:t>WORKSHOPS</a:t>
          </a:r>
        </a:p>
      </dsp:txBody>
      <dsp:txXfrm>
        <a:off x="114949" y="3474348"/>
        <a:ext cx="1543359" cy="617343"/>
      </dsp:txXfrm>
    </dsp:sp>
    <dsp:sp modelId="{C5C2CCBC-6A35-48F0-BB16-C6CF577D4438}">
      <dsp:nvSpPr>
        <dsp:cNvPr id="0" name=""/>
        <dsp:cNvSpPr/>
      </dsp:nvSpPr>
      <dsp:spPr>
        <a:xfrm>
          <a:off x="2229351" y="2239660"/>
          <a:ext cx="941449" cy="941449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C948545-C92E-4FB7-A8B8-F8C890BC8611}">
      <dsp:nvSpPr>
        <dsp:cNvPr id="0" name=""/>
        <dsp:cNvSpPr/>
      </dsp:nvSpPr>
      <dsp:spPr>
        <a:xfrm>
          <a:off x="2429988" y="2440297"/>
          <a:ext cx="540175" cy="540175"/>
        </a:xfrm>
        <a:prstGeom prst="rect">
          <a:avLst/>
        </a:prstGeom>
        <a:blipFill>
          <a:blip xmlns:r="http://schemas.openxmlformats.org/officeDocument/2006/relationships"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E76FDD3-DA11-4CB2-85A0-5E2A9F75F8A1}">
      <dsp:nvSpPr>
        <dsp:cNvPr id="0" name=""/>
        <dsp:cNvSpPr/>
      </dsp:nvSpPr>
      <dsp:spPr>
        <a:xfrm>
          <a:off x="1928396" y="3474348"/>
          <a:ext cx="1543359" cy="6173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300" kern="1200"/>
            <a:t>MH AWARENESS &amp; WELLNESS EVENTS</a:t>
          </a:r>
        </a:p>
      </dsp:txBody>
      <dsp:txXfrm>
        <a:off x="1928396" y="3474348"/>
        <a:ext cx="1543359" cy="617343"/>
      </dsp:txXfrm>
    </dsp:sp>
    <dsp:sp modelId="{47BF113D-1DD4-4071-8B8D-EDDC94EDEA55}">
      <dsp:nvSpPr>
        <dsp:cNvPr id="0" name=""/>
        <dsp:cNvSpPr/>
      </dsp:nvSpPr>
      <dsp:spPr>
        <a:xfrm>
          <a:off x="4042799" y="2239660"/>
          <a:ext cx="941449" cy="941449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CE08C69-4EA7-4AE7-AB87-936F347F7DC3}">
      <dsp:nvSpPr>
        <dsp:cNvPr id="0" name=""/>
        <dsp:cNvSpPr/>
      </dsp:nvSpPr>
      <dsp:spPr>
        <a:xfrm>
          <a:off x="4243435" y="2440297"/>
          <a:ext cx="540175" cy="540175"/>
        </a:xfrm>
        <a:prstGeom prst="rect">
          <a:avLst/>
        </a:prstGeom>
        <a:blipFill>
          <a:blip xmlns:r="http://schemas.openxmlformats.org/officeDocument/2006/relationships"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C88F5F-0168-4E4E-86B6-5E25A7E75EE6}">
      <dsp:nvSpPr>
        <dsp:cNvPr id="0" name=""/>
        <dsp:cNvSpPr/>
      </dsp:nvSpPr>
      <dsp:spPr>
        <a:xfrm>
          <a:off x="3741843" y="3474348"/>
          <a:ext cx="1543359" cy="6173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300" kern="1200"/>
            <a:t>ADVOCACY</a:t>
          </a:r>
        </a:p>
      </dsp:txBody>
      <dsp:txXfrm>
        <a:off x="3741843" y="3474348"/>
        <a:ext cx="1543359" cy="617343"/>
      </dsp:txXfrm>
    </dsp:sp>
    <dsp:sp modelId="{FD41B628-2B77-48C6-B10F-9FF4D34AB821}">
      <dsp:nvSpPr>
        <dsp:cNvPr id="0" name=""/>
        <dsp:cNvSpPr/>
      </dsp:nvSpPr>
      <dsp:spPr>
        <a:xfrm>
          <a:off x="5856246" y="2239660"/>
          <a:ext cx="941449" cy="941449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7B1EB2-2500-463B-8F02-CE057D920A31}">
      <dsp:nvSpPr>
        <dsp:cNvPr id="0" name=""/>
        <dsp:cNvSpPr/>
      </dsp:nvSpPr>
      <dsp:spPr>
        <a:xfrm>
          <a:off x="6056883" y="2440297"/>
          <a:ext cx="540175" cy="540175"/>
        </a:xfrm>
        <a:prstGeom prst="rect">
          <a:avLst/>
        </a:prstGeom>
        <a:blipFill>
          <a:blip xmlns:r="http://schemas.openxmlformats.org/officeDocument/2006/relationships"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a:blipFill>
        <a:ln w="19050" cap="rnd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5061910-06CE-4962-B7A1-0F3DD1F38624}">
      <dsp:nvSpPr>
        <dsp:cNvPr id="0" name=""/>
        <dsp:cNvSpPr/>
      </dsp:nvSpPr>
      <dsp:spPr>
        <a:xfrm>
          <a:off x="5555291" y="3474348"/>
          <a:ext cx="1543359" cy="6173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1300" kern="1200"/>
            <a:t>PUBLIC POLICY</a:t>
          </a:r>
        </a:p>
      </dsp:txBody>
      <dsp:txXfrm>
        <a:off x="5555291" y="3474348"/>
        <a:ext cx="1543359" cy="61734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54E030-0D51-459C-B954-DD44D064151C}">
      <dsp:nvSpPr>
        <dsp:cNvPr id="0" name=""/>
        <dsp:cNvSpPr/>
      </dsp:nvSpPr>
      <dsp:spPr>
        <a:xfrm>
          <a:off x="0" y="581478"/>
          <a:ext cx="2254250" cy="1352550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6000"/>
                <a:lumMod val="100000"/>
              </a:schemeClr>
            </a:gs>
            <a:gs pos="78000">
              <a:schemeClr val="accent2">
                <a:hueOff val="0"/>
                <a:satOff val="0"/>
                <a:lumOff val="0"/>
                <a:alphaOff val="0"/>
                <a:shade val="94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/>
            <a:t>5:5</a:t>
          </a:r>
        </a:p>
      </dsp:txBody>
      <dsp:txXfrm>
        <a:off x="0" y="581478"/>
        <a:ext cx="2254250" cy="1352550"/>
      </dsp:txXfrm>
    </dsp:sp>
    <dsp:sp modelId="{E493B2E5-F0CC-4AC2-9E03-95ECE34D4EF4}">
      <dsp:nvSpPr>
        <dsp:cNvPr id="0" name=""/>
        <dsp:cNvSpPr/>
      </dsp:nvSpPr>
      <dsp:spPr>
        <a:xfrm>
          <a:off x="2479675" y="581478"/>
          <a:ext cx="2254250" cy="1352550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96000"/>
                <a:lumMod val="100000"/>
              </a:schemeClr>
            </a:gs>
            <a:gs pos="78000">
              <a:schemeClr val="accent3">
                <a:hueOff val="0"/>
                <a:satOff val="0"/>
                <a:lumOff val="0"/>
                <a:alphaOff val="0"/>
                <a:shade val="94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/>
            <a:t>70,000+</a:t>
          </a:r>
        </a:p>
      </dsp:txBody>
      <dsp:txXfrm>
        <a:off x="2479675" y="581478"/>
        <a:ext cx="2254250" cy="1352550"/>
      </dsp:txXfrm>
    </dsp:sp>
    <dsp:sp modelId="{68DE2748-5B40-4B8F-B137-CC61D8CBF323}">
      <dsp:nvSpPr>
        <dsp:cNvPr id="0" name=""/>
        <dsp:cNvSpPr/>
      </dsp:nvSpPr>
      <dsp:spPr>
        <a:xfrm>
          <a:off x="4959349" y="581478"/>
          <a:ext cx="2254250" cy="1352550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96000"/>
                <a:lumMod val="100000"/>
              </a:schemeClr>
            </a:gs>
            <a:gs pos="78000">
              <a:schemeClr val="accent4">
                <a:hueOff val="0"/>
                <a:satOff val="0"/>
                <a:lumOff val="0"/>
                <a:alphaOff val="0"/>
                <a:shade val="94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/>
            <a:t>0-118</a:t>
          </a:r>
        </a:p>
      </dsp:txBody>
      <dsp:txXfrm>
        <a:off x="4959349" y="581478"/>
        <a:ext cx="2254250" cy="1352550"/>
      </dsp:txXfrm>
    </dsp:sp>
    <dsp:sp modelId="{72A5C5FA-0929-4F12-B85C-EDDE4B27C939}">
      <dsp:nvSpPr>
        <dsp:cNvPr id="0" name=""/>
        <dsp:cNvSpPr/>
      </dsp:nvSpPr>
      <dsp:spPr>
        <a:xfrm>
          <a:off x="1239837" y="2159453"/>
          <a:ext cx="2254250" cy="1352550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96000"/>
                <a:lumMod val="100000"/>
              </a:schemeClr>
            </a:gs>
            <a:gs pos="78000">
              <a:schemeClr val="accent5">
                <a:hueOff val="0"/>
                <a:satOff val="0"/>
                <a:lumOff val="0"/>
                <a:alphaOff val="0"/>
                <a:shade val="94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/>
            <a:t>18</a:t>
          </a:r>
        </a:p>
      </dsp:txBody>
      <dsp:txXfrm>
        <a:off x="1239837" y="2159453"/>
        <a:ext cx="2254250" cy="1352550"/>
      </dsp:txXfrm>
    </dsp:sp>
    <dsp:sp modelId="{AA823999-58FE-4DF8-9B42-70F5B4A3D3D8}">
      <dsp:nvSpPr>
        <dsp:cNvPr id="0" name=""/>
        <dsp:cNvSpPr/>
      </dsp:nvSpPr>
      <dsp:spPr>
        <a:xfrm>
          <a:off x="3719512" y="2159453"/>
          <a:ext cx="2254250" cy="1352550"/>
        </a:xfrm>
        <a:prstGeom prst="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96000"/>
                <a:lumMod val="100000"/>
              </a:schemeClr>
            </a:gs>
            <a:gs pos="78000">
              <a:schemeClr val="accent6">
                <a:hueOff val="0"/>
                <a:satOff val="0"/>
                <a:lumOff val="0"/>
                <a:alphaOff val="0"/>
                <a:shade val="94000"/>
                <a:lumMod val="94000"/>
              </a:schemeClr>
            </a:gs>
          </a:gsLst>
          <a:lin ang="5400000" scaled="0"/>
        </a:gradFill>
        <a:ln>
          <a:noFill/>
        </a:ln>
        <a:effectLst>
          <a:outerShdw blurRad="38100" dist="254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/>
            <a:t>1,000,000</a:t>
          </a:r>
        </a:p>
      </dsp:txBody>
      <dsp:txXfrm>
        <a:off x="3719512" y="2159453"/>
        <a:ext cx="2254250" cy="13525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PictureGrid">
  <dgm:title val=""/>
  <dgm:desc val=""/>
  <dgm:catLst>
    <dgm:cat type="picture" pri="11000"/>
    <dgm:cat type="pictureconvert" pri="1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</dgm:varLst>
    <dgm:choose name="Name1">
      <dgm:if name="Name2" axis="ch" ptType="node" func="cnt" op="lte" val="4">
        <dgm:choose name="Name3">
          <dgm:if name="Name4" func="var" arg="dir" op="equ" val="norm">
            <dgm:alg type="snake">
              <dgm:param type="off" val="ctr"/>
              <dgm:param type="bkpt" val="fixed"/>
              <dgm:param type="bkPtFixedVal" val="2"/>
            </dgm:alg>
          </dgm:if>
          <dgm:else name="Name5">
            <dgm:alg type="snake">
              <dgm:param type="off" val="ctr"/>
              <dgm:param type="grDir" val="tR"/>
              <dgm:param type="bkpt" val="fixed"/>
              <dgm:param type="bkPtFixedVal" val="2"/>
            </dgm:alg>
          </dgm:else>
        </dgm:choose>
      </dgm:if>
      <dgm:else name="Name6">
        <dgm:choose name="Name7">
          <dgm:if name="Name8" axis="ch" ptType="node" func="cnt" op="lte" val="9">
            <dgm:choose name="Name9">
              <dgm:if name="Name10" func="var" arg="dir" op="equ" val="norm">
                <dgm:alg type="snake">
                  <dgm:param type="off" val="ctr"/>
                  <dgm:param type="bkpt" val="fixed"/>
                  <dgm:param type="bkPtFixedVal" val="3"/>
                </dgm:alg>
              </dgm:if>
              <dgm:else name="Name11">
                <dgm:alg type="snake">
                  <dgm:param type="off" val="ctr"/>
                  <dgm:param type="grDir" val="tR"/>
                  <dgm:param type="bkpt" val="fixed"/>
                  <dgm:param type="bkPtFixedVal" val="3"/>
                </dgm:alg>
              </dgm:else>
            </dgm:choose>
          </dgm:if>
          <dgm:else name="Name12">
            <dgm:choose name="Name13">
              <dgm:if name="Name14" axis="ch" ptType="node" func="cnt" op="lte" val="16">
                <dgm:choose name="Name15">
                  <dgm:if name="Name16" func="var" arg="dir" op="equ" val="norm">
                    <dgm:alg type="snake">
                      <dgm:param type="off" val="ctr"/>
                      <dgm:param type="bkpt" val="fixed"/>
                      <dgm:param type="bkPtFixedVal" val="4"/>
                    </dgm:alg>
                  </dgm:if>
                  <dgm:else name="Name17">
                    <dgm:alg type="snake">
                      <dgm:param type="off" val="ctr"/>
                      <dgm:param type="grDir" val="tR"/>
                      <dgm:param type="bkpt" val="fixed"/>
                      <dgm:param type="bkPtFixedVal" val="4"/>
                    </dgm:alg>
                  </dgm:else>
                </dgm:choose>
              </dgm:if>
              <dgm:else name="Name18">
                <dgm:choose name="Name19">
                  <dgm:if name="Name20" axis="ch" ptType="node" func="cnt" op="lte" val="25">
                    <dgm:choose name="Name21">
                      <dgm:if name="Name22" func="var" arg="dir" op="equ" val="norm">
                        <dgm:alg type="snake">
                          <dgm:param type="off" val="ctr"/>
                          <dgm:param type="bkpt" val="fixed"/>
                          <dgm:param type="bkPtFixedVal" val="5"/>
                        </dgm:alg>
                      </dgm:if>
                      <dgm:else name="Name23">
                        <dgm:alg type="snake">
                          <dgm:param type="off" val="ctr"/>
                          <dgm:param type="grDir" val="tR"/>
                          <dgm:param type="bkpt" val="fixed"/>
                          <dgm:param type="bkPtFixedVal" val="5"/>
                        </dgm:alg>
                      </dgm:else>
                    </dgm:choose>
                  </dgm:if>
                  <dgm:else name="Name24">
                    <dgm:choose name="Name25">
                      <dgm:if name="Name26" func="var" arg="dir" op="equ" val="norm">
                        <dgm:alg type="snake">
                          <dgm:param type="off" val="ctr"/>
                        </dgm:alg>
                      </dgm:if>
                      <dgm:else name="Name27">
                        <dgm:alg type="snake">
                          <dgm:param type="off" val="ctr"/>
                          <dgm:param type="grDir" val="tR"/>
                        </dgm:alg>
                      </dgm:else>
                    </dgm:choose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0.8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0.7568"/>
        </dgm:alg>
        <dgm:shape xmlns:r="http://schemas.openxmlformats.org/officeDocument/2006/relationships" r:blip="">
          <dgm:adjLst/>
        </dgm:shape>
        <dgm:constrLst>
          <dgm:constr type="l" for="ch" forName="rect1" refType="w" fact="0"/>
          <dgm:constr type="t" for="ch" forName="rect1" refType="h" fact="0.15"/>
          <dgm:constr type="w" for="ch" forName="rect1" refType="w"/>
          <dgm:constr type="h" for="ch" forName="rect1" refType="w"/>
          <dgm:constr type="l" for="ch" forName="rect2" refType="w" fact="0"/>
          <dgm:constr type="t" for="ch" forName="rect2" refType="h" fact="0"/>
          <dgm:constr type="w" for="ch" forName="rect2" refType="w"/>
          <dgm:constr type="h" for="ch" forName="rect2" refType="w" fact="0.15"/>
        </dgm:constrLst>
        <dgm:layoutNode name="rect2" styleLbl="revTx">
          <dgm:varLst>
            <dgm:bulletEnabled val="1"/>
          </dgm:varLst>
          <dgm:alg type="tx">
            <dgm:param type="stBulletLvl" val="3"/>
            <dgm:param type="parTxLTRAlign" val="l"/>
            <dgm:param type="parTxRTLAlign" val="r"/>
            <dgm:param type="txAnchorVert" val="b"/>
            <dgm:param type="txAnchorVertCh" val="b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"/>
            <dgm:constr type="rMarg" refType="primFontSz" fact="0.3"/>
            <dgm:constr type="tMarg" refType="primFontSz" fact="0.3"/>
            <dgm:constr type="bMarg" refType="primFontSz" fact="0"/>
            <dgm:constr type="secFontSz" refType="primFontSz" fact="0.8"/>
          </dgm:constrLst>
          <dgm:ruleLst>
            <dgm:rule type="primFontSz" val="5" fact="NaN" max="NaN"/>
          </dgm:ruleLst>
        </dgm:layoutNode>
        <dgm:layoutNode name="rect1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5/layout/IconCircleLabelList">
  <dgm:title val="Icon Circle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cap="all"/>
        </a:lvl1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2A4BD2-37A5-4AA9-B52E-93067143938C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083850-EC37-4A3A-A4C9-AF2CF6C39E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8419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ifferencebetween.com/difference-between-need-and-vs-desire/" TargetMode="External"/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270D36-5AB5-4DE3-9B15-720AE01A39DA}" type="slidenum">
              <a:rPr lang="en-CA" smtClean="0"/>
              <a:t>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5607769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fld id="{FE3187DE-8899-4E52-9415-DFD397B97DEF}" type="slidenum">
              <a:rPr lang="en-US" altLang="en-US" sz="1200" smtClean="0">
                <a:solidFill>
                  <a:srgbClr val="000000"/>
                </a:solidFill>
              </a:rPr>
              <a:pPr/>
              <a:t>30</a:t>
            </a:fld>
            <a:endParaRPr lang="en-US" altLang="en-US" sz="1200">
              <a:solidFill>
                <a:srgbClr val="000000"/>
              </a:solidFill>
            </a:endParaRPr>
          </a:p>
        </p:txBody>
      </p:sp>
      <p:sp>
        <p:nvSpPr>
          <p:cNvPr id="153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53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af-ZA" altLang="en-US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3B7D15-8770-4B4F-A1A2-7E8CC80886CA}" type="slidenum">
              <a:rPr lang="en-CA" smtClean="0">
                <a:solidFill>
                  <a:prstClr val="black"/>
                </a:solidFill>
              </a:rPr>
              <a:pPr/>
              <a:t>36</a:t>
            </a:fld>
            <a:endParaRPr lang="en-C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5255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Public Health’s programs and services focus on health promotion, prevention and protection from disease and injurie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3B7D15-8770-4B4F-A1A2-7E8CC80886CA}" type="slidenum">
              <a:rPr lang="en-CA" smtClean="0">
                <a:solidFill>
                  <a:prstClr val="black"/>
                </a:solidFill>
              </a:rPr>
              <a:pPr/>
              <a:t>37</a:t>
            </a:fld>
            <a:endParaRPr lang="en-C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1300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ur work focuses on looking at the bigger picture</a:t>
            </a:r>
            <a:r>
              <a:rPr lang="en-US" baseline="0" dirty="0"/>
              <a:t> or what is commonly known as a population health approach.  This approach aims t</a:t>
            </a:r>
            <a:r>
              <a:rPr lang="en-US" dirty="0"/>
              <a:t>o improve the health of the entire population and to reduce health inequities among population groups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work of Public Health stands alone as it uniquely acknowledges health and what makes individuals/communities healthy. Health is not just the absence of disease; it is a capacity or resource for living that enables individual’s to grow, attain competencies/skills and education, and work towards goals while fulfilling personal hopes and desires. This unique comprehension and outlook of health presents the basis for population health work and its approach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3B7D15-8770-4B4F-A1A2-7E8CC80886CA}" type="slidenum">
              <a:rPr lang="en-CA" smtClean="0">
                <a:solidFill>
                  <a:prstClr val="black"/>
                </a:solidFill>
              </a:rPr>
              <a:pPr/>
              <a:t>38</a:t>
            </a:fld>
            <a:endParaRPr lang="en-C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2998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order to achieve this,</a:t>
            </a:r>
            <a:r>
              <a:rPr lang="en-US" baseline="0" dirty="0"/>
              <a:t> Public Health </a:t>
            </a:r>
            <a:r>
              <a:rPr lang="en-US" dirty="0"/>
              <a:t>looks at and acts upon a broad range of factors and conditions that have a strong influence on our health.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3B7D15-8770-4B4F-A1A2-7E8CC80886CA}" type="slidenum">
              <a:rPr lang="en-CA" smtClean="0">
                <a:solidFill>
                  <a:prstClr val="black"/>
                </a:solidFill>
              </a:rPr>
              <a:pPr/>
              <a:t>39</a:t>
            </a:fld>
            <a:endParaRPr lang="en-C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13005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We advocate for equity for all. </a:t>
            </a:r>
          </a:p>
          <a:p>
            <a:pPr>
              <a:defRPr/>
            </a:pPr>
            <a:r>
              <a:rPr lang="en-US" dirty="0"/>
              <a:t>* </a:t>
            </a:r>
            <a:r>
              <a:rPr lang="en-US" b="1" dirty="0"/>
              <a:t>Equality can be defined as treating each and every individual in the same manner irrespective of needs and requirements</a:t>
            </a:r>
            <a:endParaRPr lang="en-US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Equity can be defined as the quality of treating individuals fairly based on their </a:t>
            </a:r>
            <a:r>
              <a:rPr lang="en-US" b="1" u="sng" dirty="0">
                <a:hlinkClick r:id="rId3"/>
              </a:rPr>
              <a:t>needs</a:t>
            </a:r>
            <a:r>
              <a:rPr lang="en-US" b="1" dirty="0">
                <a:hlinkClick r:id="rId3"/>
              </a:rPr>
              <a:t> and requirements.</a:t>
            </a:r>
            <a:endParaRPr lang="en-US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3B7D15-8770-4B4F-A1A2-7E8CC80886CA}" type="slidenum">
              <a:rPr lang="en-CA" smtClean="0">
                <a:solidFill>
                  <a:prstClr val="black"/>
                </a:solidFill>
              </a:rPr>
              <a:pPr/>
              <a:t>40</a:t>
            </a:fld>
            <a:endParaRPr lang="en-C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3186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NB these are the Public Health programs that are offered. Let’s explore each one: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3B7D15-8770-4B4F-A1A2-7E8CC80886CA}" type="slidenum">
              <a:rPr lang="en-CA" smtClean="0">
                <a:solidFill>
                  <a:prstClr val="black"/>
                </a:solidFill>
              </a:rPr>
              <a:pPr/>
              <a:t>41</a:t>
            </a:fld>
            <a:endParaRPr lang="en-C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8398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mmunity Profiles are organized to support population health model (Health Reporting)</a:t>
            </a:r>
            <a:r>
              <a:rPr lang="en-US" baseline="0" dirty="0"/>
              <a:t>. Community data should support Regional Level Planning and priorities.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45FF20-9F98-4DAC-BA0E-1D8FC766EF51}" type="slidenum">
              <a:rPr lang="en-CA" smtClean="0">
                <a:solidFill>
                  <a:prstClr val="black"/>
                </a:solidFill>
              </a:rPr>
              <a:pPr/>
              <a:t>54</a:t>
            </a:fld>
            <a:endParaRPr lang="en-C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834068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mmunity Profiles are organized to support population health model (Health Reporting)</a:t>
            </a:r>
            <a:r>
              <a:rPr lang="en-US" baseline="0" dirty="0"/>
              <a:t>. Community data should support Regional Level Planning and priorities.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45FF20-9F98-4DAC-BA0E-1D8FC766EF51}" type="slidenum">
              <a:rPr lang="en-CA" smtClean="0">
                <a:solidFill>
                  <a:prstClr val="black"/>
                </a:solidFill>
              </a:rPr>
              <a:pPr/>
              <a:t>55</a:t>
            </a:fld>
            <a:endParaRPr lang="en-C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834068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 sz="800" b="1"/>
              <a:t>Indicator choice:</a:t>
            </a:r>
          </a:p>
          <a:p>
            <a:endParaRPr lang="en-US" altLang="en-US" sz="800" b="1"/>
          </a:p>
          <a:p>
            <a:r>
              <a:rPr lang="en-US" altLang="en-US" sz="800" b="1"/>
              <a:t>Follow the NBHC Population Health Model </a:t>
            </a:r>
            <a:r>
              <a:rPr lang="en-US" altLang="en-US" sz="800"/>
              <a:t> (or help provide the contextual information about the community)</a:t>
            </a:r>
          </a:p>
          <a:p>
            <a:endParaRPr lang="en-US" altLang="en-US" sz="900"/>
          </a:p>
          <a:p>
            <a:r>
              <a:rPr lang="en-US" altLang="en-US" sz="800" b="1"/>
              <a:t>Reliable data and source </a:t>
            </a:r>
          </a:p>
          <a:p>
            <a:endParaRPr lang="en-US" altLang="en-US" sz="900" b="1"/>
          </a:p>
          <a:p>
            <a:r>
              <a:rPr lang="en-US" altLang="en-US" sz="800" b="1"/>
              <a:t>Reproducible information </a:t>
            </a:r>
          </a:p>
          <a:p>
            <a:endParaRPr lang="en-US" altLang="en-US" sz="900" b="1"/>
          </a:p>
          <a:p>
            <a:r>
              <a:rPr lang="en-US" altLang="en-US" sz="800" b="1"/>
              <a:t>Availability at the community level </a:t>
            </a:r>
            <a:r>
              <a:rPr lang="en-US" altLang="en-US" sz="800"/>
              <a:t>(when possible)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2DEDF3A-27EB-409B-9B81-D3C6E10FE10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6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>
              <a:latin typeface="+mn-lt"/>
            </a:endParaRPr>
          </a:p>
          <a:p>
            <a:endParaRPr lang="en-CA" dirty="0">
              <a:latin typeface="+mn-lt"/>
            </a:endParaRPr>
          </a:p>
          <a:p>
            <a:endParaRPr lang="en-CA" dirty="0">
              <a:latin typeface="+mn-lt"/>
            </a:endParaRPr>
          </a:p>
          <a:p>
            <a:endParaRPr lang="en-C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3BACDD-8207-4C26-9743-15A00B3AE452}" type="slidenum">
              <a:rPr lang="en-CA" altLang="en-US" smtClean="0"/>
              <a:pPr/>
              <a:t>7</a:t>
            </a:fld>
            <a:endParaRPr lang="en-CA" altLang="en-US"/>
          </a:p>
        </p:txBody>
      </p:sp>
      <p:sp>
        <p:nvSpPr>
          <p:cNvPr id="6" name="Date Placeholder 5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altLang="en-US"/>
              <a:t>24 July 2018</a:t>
            </a:r>
            <a:endParaRPr lang="en-CA" altLang="en-US"/>
          </a:p>
        </p:txBody>
      </p:sp>
    </p:spTree>
    <p:extLst>
      <p:ext uri="{BB962C8B-B14F-4D97-AF65-F5344CB8AC3E}">
        <p14:creationId xmlns:p14="http://schemas.microsoft.com/office/powerpoint/2010/main" val="351631053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4506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752" indent="-28567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2694" indent="-2285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599771" indent="-2285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6850" indent="-2285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3927" indent="-2285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004" indent="-2285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8081" indent="-2285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5160" indent="-2285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CC21212F-9782-4F27-95EB-A0ACD21B029E}" type="slidenum">
              <a:rPr lang="en-US" altLang="en-US" smtClean="0">
                <a:solidFill>
                  <a:prstClr val="black"/>
                </a:solidFill>
                <a:latin typeface="Arial" pitchFamily="34" charset="0"/>
              </a:rPr>
              <a:pPr eaLnBrk="1" hangingPunct="1">
                <a:spcBef>
                  <a:spcPct val="0"/>
                </a:spcBef>
              </a:pPr>
              <a:t>57</a:t>
            </a:fld>
            <a:endParaRPr lang="en-US" altLang="en-US">
              <a:solidFill>
                <a:prstClr val="black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2438" indent="-307975"/>
            <a:r>
              <a:rPr lang="en-CA" dirty="0"/>
              <a:t>We are small but mighty </a:t>
            </a:r>
            <a:r>
              <a:rPr lang="en-CA" sz="1200" dirty="0"/>
              <a:t>13.6 Provincial</a:t>
            </a:r>
            <a:r>
              <a:rPr lang="en-US" sz="1200" dirty="0"/>
              <a:t> Staff</a:t>
            </a:r>
          </a:p>
          <a:p>
            <a:pPr marL="488950" indent="-307975"/>
            <a:r>
              <a:rPr lang="en-US" sz="1200" dirty="0"/>
              <a:t>8 Regional Staff (1 per region) </a:t>
            </a:r>
          </a:p>
          <a:p>
            <a:pPr marL="488950" indent="-307975"/>
            <a:r>
              <a:rPr lang="en-US" sz="1200" dirty="0"/>
              <a:t>2 School Wellness Consultants</a:t>
            </a:r>
          </a:p>
          <a:p>
            <a:endParaRPr lang="en-CA" b="1" i="1" dirty="0"/>
          </a:p>
          <a:p>
            <a:r>
              <a:rPr lang="en-US" sz="2400" dirty="0"/>
              <a:t>A mix of backgrounds and expertise Take lead in content areas, initiatives, settings or populations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/>
              <a:t>A mix of backgrounds and expertise in community development</a:t>
            </a:r>
          </a:p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52FCD1-367F-4372-98C0-767661D7D418}" type="slidenum">
              <a:rPr lang="en-US" smtClean="0">
                <a:solidFill>
                  <a:prstClr val="black"/>
                </a:solidFill>
              </a:rPr>
              <a:pPr/>
              <a:t>5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015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vincial and regional Wellness Consultants are guided in their work by NB’s Wellness Strategy together we are responsible for taking a leadership role in implementing the wellness strategy. </a:t>
            </a:r>
            <a:endParaRPr lang="en-CA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aseline="0" dirty="0"/>
              <a:t>Regional Wellness Consultants connect community partners to the Strategy or connect the Strategy to their community partners work via Wellness Networks, community Partnerships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aseline="0" dirty="0"/>
              <a:t>Provincial consultants are more focused while regional consultant are broader in their scop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baseline="0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E60A28-2080-4830-A425-FC53CCDF508B}" type="slidenum">
              <a:rPr lang="en-CA" smtClean="0">
                <a:solidFill>
                  <a:prstClr val="black"/>
                </a:solidFill>
              </a:rPr>
              <a:pPr/>
              <a:t>59</a:t>
            </a:fld>
            <a:endParaRPr lang="en-C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80443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 </a:t>
            </a:r>
            <a:r>
              <a:rPr lang="en-CA" baseline="0" dirty="0"/>
              <a:t>Regional Wellness Consultants connect community partners to the Strategy or connect the Strategy to their community partners work via Wellness Networks, community Partnerships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aseline="0" dirty="0"/>
              <a:t>Provincial consultants are more focused while regional consultant are broader in their scop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baseline="0" dirty="0"/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EB00C3-BE59-48E4-A1D2-878454421451}" type="slidenum">
              <a:rPr lang="en-CA" smtClean="0">
                <a:solidFill>
                  <a:prstClr val="black"/>
                </a:solidFill>
              </a:rPr>
              <a:pPr/>
              <a:t>60</a:t>
            </a:fld>
            <a:endParaRPr lang="en-C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27691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0" baseline="0" dirty="0"/>
              <a:t>The wellness branch divides the province into 8 regions. There is 1 regional wellness consultant responsible for each region </a:t>
            </a:r>
          </a:p>
          <a:p>
            <a:r>
              <a:rPr lang="en-CA" dirty="0"/>
              <a:t>There are currently many Wellness Networks. </a:t>
            </a:r>
            <a:r>
              <a:rPr lang="en-US" baseline="0" dirty="0"/>
              <a:t>Some regions have more than one Network depending on the demographics and the needs of their region. </a:t>
            </a:r>
          </a:p>
          <a:p>
            <a:r>
              <a:rPr lang="en-US" dirty="0"/>
              <a:t>In</a:t>
            </a:r>
            <a:r>
              <a:rPr lang="en-US" baseline="0" dirty="0"/>
              <a:t> general, most Wellness Networks are comprised of a Steering Committee and sub-committees or working groups in key areas, </a:t>
            </a:r>
          </a:p>
          <a:p>
            <a:r>
              <a:rPr lang="en-US" baseline="0" dirty="0"/>
              <a:t>The approach is all about participation, contribution and </a:t>
            </a:r>
            <a:r>
              <a:rPr lang="en-US" b="0" baseline="0" dirty="0"/>
              <a:t>communicatio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baseline="0" dirty="0"/>
              <a:t>Wellness Networks determine autonomously their key areas of focus based on the Forum. </a:t>
            </a:r>
            <a:r>
              <a:rPr lang="en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hat these areas of focus are also informed by data - the Community Profiles prepared by the NBHC</a:t>
            </a:r>
          </a:p>
          <a:p>
            <a:endParaRPr lang="en-US" baseline="0" dirty="0"/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52FCD1-367F-4372-98C0-767661D7D418}" type="slidenum">
              <a:rPr lang="en-US" smtClean="0">
                <a:solidFill>
                  <a:prstClr val="black"/>
                </a:solidFill>
              </a:rPr>
              <a:pPr/>
              <a:t>6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65766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aseline="0" dirty="0"/>
              <a:t>Using asset based approach to create </a:t>
            </a:r>
            <a:r>
              <a:rPr lang="en-CA" dirty="0"/>
              <a:t>Supportive environments - </a:t>
            </a:r>
            <a:r>
              <a:rPr lang="en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ranch’s work is focused in 4 areas (Physical Activity, Healthy Eating, Mental Fitness &amp; Tobacco Free Living) in 4 settings (Homes, schools, communities </a:t>
            </a:r>
            <a:r>
              <a:rPr lang="en-CA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workplaces). </a:t>
            </a:r>
            <a:r>
              <a:rPr lang="en-CA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n add that the Regional Wellness Consultants currently have 3 priority areas – Mental Fitness and Resilience, Food Security and Healthy Aging.</a:t>
            </a:r>
          </a:p>
          <a:p>
            <a:endParaRPr lang="en-CA" baseline="0" dirty="0"/>
          </a:p>
          <a:p>
            <a:r>
              <a:rPr lang="en-US" dirty="0"/>
              <a:t> </a:t>
            </a:r>
            <a:r>
              <a:rPr lang="en-US" sz="1200" dirty="0"/>
              <a:t>Support development and ongoing efforts of Wellness Networks and their community engagement initiatives</a:t>
            </a:r>
          </a:p>
          <a:p>
            <a:r>
              <a:rPr lang="en-CA" sz="1200" dirty="0"/>
              <a:t>Network and build partnerships </a:t>
            </a:r>
          </a:p>
          <a:p>
            <a:r>
              <a:rPr lang="fr-CA" sz="1200" dirty="0"/>
              <a:t>Support provincial Wellness programs and initiatives</a:t>
            </a:r>
          </a:p>
          <a:p>
            <a:r>
              <a:rPr lang="fr-CA" sz="1200" dirty="0"/>
              <a:t>Champion The Wellness </a:t>
            </a:r>
            <a:r>
              <a:rPr lang="fr-CA" sz="1200" dirty="0" err="1"/>
              <a:t>Movement</a:t>
            </a:r>
            <a:r>
              <a:rPr lang="fr-CA" sz="1200" dirty="0"/>
              <a:t> to support </a:t>
            </a:r>
            <a:r>
              <a:rPr lang="fr-CA" sz="1200" dirty="0" err="1"/>
              <a:t>community</a:t>
            </a:r>
            <a:r>
              <a:rPr lang="fr-CA" sz="1200" dirty="0"/>
              <a:t> promotion efforts</a:t>
            </a:r>
          </a:p>
          <a:p>
            <a:r>
              <a:rPr lang="fr-CA" sz="1200" dirty="0" err="1"/>
              <a:t>Provide</a:t>
            </a:r>
            <a:r>
              <a:rPr lang="fr-CA" sz="1200" dirty="0"/>
              <a:t> </a:t>
            </a:r>
            <a:r>
              <a:rPr lang="fr-CA" sz="1200" dirty="0" err="1"/>
              <a:t>professional</a:t>
            </a:r>
            <a:r>
              <a:rPr lang="fr-CA" sz="1200" dirty="0"/>
              <a:t> expertise</a:t>
            </a:r>
            <a:endParaRPr lang="en-US" sz="1200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52FCD1-367F-4372-98C0-767661D7D418}" type="slidenum">
              <a:rPr lang="en-US" smtClean="0">
                <a:solidFill>
                  <a:prstClr val="black"/>
                </a:solidFill>
              </a:rPr>
              <a:pPr/>
              <a:t>6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49933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en-US" dirty="0">
                <a:latin typeface="Arial" pitchFamily="34" charset="0"/>
                <a:cs typeface="Arial" pitchFamily="34" charset="0"/>
              </a:rPr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3BACDD-8207-4C26-9743-15A00B3AE452}" type="slidenum">
              <a:rPr lang="en-CA" altLang="en-US" smtClean="0"/>
              <a:pPr/>
              <a:t>8</a:t>
            </a:fld>
            <a:endParaRPr lang="en-CA" altLang="en-US"/>
          </a:p>
        </p:txBody>
      </p:sp>
      <p:sp>
        <p:nvSpPr>
          <p:cNvPr id="6" name="Date Placeholder 5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altLang="en-US"/>
              <a:t>24 July 2018</a:t>
            </a:r>
            <a:endParaRPr lang="en-CA" altLang="en-US"/>
          </a:p>
        </p:txBody>
      </p:sp>
    </p:spTree>
    <p:extLst>
      <p:ext uri="{BB962C8B-B14F-4D97-AF65-F5344CB8AC3E}">
        <p14:creationId xmlns:p14="http://schemas.microsoft.com/office/powerpoint/2010/main" val="30416210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 altLang="en-US"/>
              <a:t>24 July 2018</a:t>
            </a:r>
            <a:endParaRPr lang="en-CA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3BACDD-8207-4C26-9743-15A00B3AE452}" type="slidenum">
              <a:rPr lang="en-CA" altLang="en-US" smtClean="0"/>
              <a:pPr/>
              <a:t>9</a:t>
            </a:fld>
            <a:endParaRPr lang="en-CA" altLang="en-US"/>
          </a:p>
        </p:txBody>
      </p:sp>
    </p:spTree>
    <p:extLst>
      <p:ext uri="{BB962C8B-B14F-4D97-AF65-F5344CB8AC3E}">
        <p14:creationId xmlns:p14="http://schemas.microsoft.com/office/powerpoint/2010/main" val="24903488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 altLang="en-US"/>
              <a:t>24 July 2018</a:t>
            </a:r>
            <a:endParaRPr lang="en-CA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F3BACDD-8207-4C26-9743-15A00B3AE452}" type="slidenum">
              <a:rPr lang="en-CA" altLang="en-US" smtClean="0"/>
              <a:pPr/>
              <a:t>10</a:t>
            </a:fld>
            <a:endParaRPr lang="en-CA" altLang="en-US"/>
          </a:p>
        </p:txBody>
      </p:sp>
    </p:spTree>
    <p:extLst>
      <p:ext uri="{BB962C8B-B14F-4D97-AF65-F5344CB8AC3E}">
        <p14:creationId xmlns:p14="http://schemas.microsoft.com/office/powerpoint/2010/main" val="37862692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sz="13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3BACDD-8207-4C26-9743-15A00B3AE452}" type="slidenum">
              <a:rPr lang="en-CA" altLang="en-US" smtClean="0"/>
              <a:pPr/>
              <a:t>11</a:t>
            </a:fld>
            <a:endParaRPr lang="en-CA" altLang="en-US"/>
          </a:p>
        </p:txBody>
      </p:sp>
      <p:sp>
        <p:nvSpPr>
          <p:cNvPr id="6" name="Date Placeholder 5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altLang="en-US"/>
              <a:t>24 July 2018</a:t>
            </a:r>
            <a:endParaRPr lang="en-CA" altLang="en-US"/>
          </a:p>
        </p:txBody>
      </p:sp>
    </p:spTree>
    <p:extLst>
      <p:ext uri="{BB962C8B-B14F-4D97-AF65-F5344CB8AC3E}">
        <p14:creationId xmlns:p14="http://schemas.microsoft.com/office/powerpoint/2010/main" val="34475279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sz="1300" b="1" i="1" dirty="0"/>
          </a:p>
          <a:p>
            <a:endParaRPr lang="en-CA" sz="1300" b="1" i="1" dirty="0"/>
          </a:p>
          <a:p>
            <a:endParaRPr lang="en-CA" sz="13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3BACDD-8207-4C26-9743-15A00B3AE452}" type="slidenum">
              <a:rPr lang="en-CA" altLang="en-US" smtClean="0"/>
              <a:pPr/>
              <a:t>12</a:t>
            </a:fld>
            <a:endParaRPr lang="en-CA" altLang="en-US"/>
          </a:p>
        </p:txBody>
      </p:sp>
      <p:sp>
        <p:nvSpPr>
          <p:cNvPr id="6" name="Date Placeholder 5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altLang="en-US"/>
              <a:t>24 July 2018</a:t>
            </a:r>
            <a:endParaRPr lang="en-CA" altLang="en-US"/>
          </a:p>
        </p:txBody>
      </p:sp>
    </p:spTree>
    <p:extLst>
      <p:ext uri="{BB962C8B-B14F-4D97-AF65-F5344CB8AC3E}">
        <p14:creationId xmlns:p14="http://schemas.microsoft.com/office/powerpoint/2010/main" val="17833243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5363" name="Notes Placeholder 2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CA" altLang="en-US">
              <a:ea typeface="ＭＳ Ｐゴシック" pitchFamily="34" charset="-128"/>
            </a:endParaRPr>
          </a:p>
        </p:txBody>
      </p:sp>
      <p:sp>
        <p:nvSpPr>
          <p:cNvPr id="153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fld id="{E8AF7364-C456-40A3-AEE9-5A3A0CF4DD70}" type="slidenum">
              <a:rPr lang="en-US" altLang="en-US" sz="1200">
                <a:solidFill>
                  <a:srgbClr val="000000"/>
                </a:solidFill>
              </a:rPr>
              <a:pPr/>
              <a:t>20</a:t>
            </a:fld>
            <a:endParaRPr lang="en-US" altLang="en-US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fld id="{51F83D03-17CA-48CC-A44C-702406D51784}" type="slidenum">
              <a:rPr lang="en-US" altLang="en-US" sz="1200">
                <a:solidFill>
                  <a:srgbClr val="000000"/>
                </a:solidFill>
              </a:rPr>
              <a:pPr/>
              <a:t>22</a:t>
            </a:fld>
            <a:endParaRPr lang="en-US" altLang="en-US" sz="1200">
              <a:solidFill>
                <a:srgbClr val="000000"/>
              </a:solidFill>
            </a:endParaRPr>
          </a:p>
        </p:txBody>
      </p:sp>
      <p:sp>
        <p:nvSpPr>
          <p:cNvPr id="16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638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0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7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00953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53799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5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5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0140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6950210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71600" y="2590800"/>
            <a:ext cx="7086600" cy="2209800"/>
          </a:xfrm>
        </p:spPr>
        <p:txBody>
          <a:bodyPr/>
          <a:lstStyle>
            <a:lvl1pPr>
              <a:defRPr sz="4400">
                <a:latin typeface="Arial" charset="0"/>
              </a:defRPr>
            </a:lvl1pPr>
          </a:lstStyle>
          <a:p>
            <a:pPr lvl="0"/>
            <a:r>
              <a:rPr lang="fr-CA" noProof="0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43218169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F3F65F3-147A-409F-BD5F-FB060047C1C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396FD8D-EE0C-47B4-BCDF-F8B0F3FE9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 b="1">
                <a:solidFill>
                  <a:srgbClr val="273691"/>
                </a:solidFill>
                <a:latin typeface="Lato BLACK" panose="020F0502020204030203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E36A28-3264-4F84-A417-B343CCE7868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>
            <a:lvl1pPr>
              <a:buClr>
                <a:srgbClr val="273691"/>
              </a:buClr>
              <a:defRPr/>
            </a:lvl1pPr>
            <a:lvl2pPr>
              <a:buClr>
                <a:srgbClr val="273691"/>
              </a:buClr>
              <a:defRPr/>
            </a:lvl2pPr>
            <a:lvl3pPr>
              <a:buClr>
                <a:srgbClr val="273691"/>
              </a:buClr>
              <a:defRPr/>
            </a:lvl3pPr>
            <a:lvl4pPr>
              <a:buClr>
                <a:srgbClr val="273691"/>
              </a:buClr>
              <a:defRPr/>
            </a:lvl4pPr>
            <a:lvl5pPr>
              <a:buClr>
                <a:srgbClr val="27369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BA20F1-CB2C-45F5-A3E8-C75A8DE69C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>
            <a:lvl1pPr>
              <a:buClr>
                <a:srgbClr val="273691"/>
              </a:buClr>
              <a:defRPr/>
            </a:lvl1pPr>
            <a:lvl2pPr>
              <a:buClr>
                <a:srgbClr val="273691"/>
              </a:buClr>
              <a:defRPr/>
            </a:lvl2pPr>
            <a:lvl3pPr>
              <a:buClr>
                <a:srgbClr val="273691"/>
              </a:buClr>
              <a:defRPr/>
            </a:lvl3pPr>
            <a:lvl4pPr>
              <a:buClr>
                <a:srgbClr val="273691"/>
              </a:buClr>
              <a:defRPr/>
            </a:lvl4pPr>
            <a:lvl5pPr>
              <a:buClr>
                <a:srgbClr val="27369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85047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F3F65F3-147A-409F-BD5F-FB060047C1C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396FD8D-EE0C-47B4-BCDF-F8B0F3FE9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 b="1">
                <a:solidFill>
                  <a:srgbClr val="273691"/>
                </a:solidFill>
                <a:latin typeface="Lato BLACK" panose="020F0502020204030203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E36A28-3264-4F84-A417-B343CCE7868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>
            <a:lvl1pPr>
              <a:buClr>
                <a:srgbClr val="273691"/>
              </a:buClr>
              <a:defRPr/>
            </a:lvl1pPr>
            <a:lvl2pPr>
              <a:buClr>
                <a:srgbClr val="273691"/>
              </a:buClr>
              <a:defRPr/>
            </a:lvl2pPr>
            <a:lvl3pPr>
              <a:buClr>
                <a:srgbClr val="273691"/>
              </a:buClr>
              <a:defRPr/>
            </a:lvl3pPr>
            <a:lvl4pPr>
              <a:buClr>
                <a:srgbClr val="273691"/>
              </a:buClr>
              <a:defRPr/>
            </a:lvl4pPr>
            <a:lvl5pPr>
              <a:buClr>
                <a:srgbClr val="27369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BA20F1-CB2C-45F5-A3E8-C75A8DE69C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>
            <a:lvl1pPr>
              <a:buClr>
                <a:srgbClr val="273691"/>
              </a:buClr>
              <a:defRPr/>
            </a:lvl1pPr>
            <a:lvl2pPr>
              <a:buClr>
                <a:srgbClr val="273691"/>
              </a:buClr>
              <a:defRPr/>
            </a:lvl2pPr>
            <a:lvl3pPr>
              <a:buClr>
                <a:srgbClr val="273691"/>
              </a:buClr>
              <a:defRPr/>
            </a:lvl3pPr>
            <a:lvl4pPr>
              <a:buClr>
                <a:srgbClr val="273691"/>
              </a:buClr>
              <a:defRPr/>
            </a:lvl4pPr>
            <a:lvl5pPr>
              <a:buClr>
                <a:srgbClr val="27369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85047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7B2BFEF-D217-4221-9BDE-077DD7AA7B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2F82B6D-4F43-41CB-8415-8C2BBE7177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 b="1">
                <a:solidFill>
                  <a:srgbClr val="273691"/>
                </a:solidFill>
                <a:latin typeface="Lato BLACK" panose="020F0502020204030203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19EEA3-DB77-4F5C-989B-67BF523E97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273691"/>
              </a:buClr>
              <a:defRPr/>
            </a:lvl1pPr>
            <a:lvl2pPr>
              <a:buClr>
                <a:srgbClr val="273691"/>
              </a:buClr>
              <a:defRPr/>
            </a:lvl2pPr>
            <a:lvl3pPr>
              <a:buClr>
                <a:srgbClr val="273691"/>
              </a:buClr>
              <a:defRPr/>
            </a:lvl3pPr>
            <a:lvl4pPr>
              <a:buClr>
                <a:srgbClr val="273691"/>
              </a:buClr>
              <a:defRPr/>
            </a:lvl4pPr>
            <a:lvl5pPr>
              <a:buClr>
                <a:srgbClr val="27369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35557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7B2BFEF-D217-4221-9BDE-077DD7AA7B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2F82B6D-4F43-41CB-8415-8C2BBE7177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 b="1">
                <a:solidFill>
                  <a:srgbClr val="273691"/>
                </a:solidFill>
                <a:latin typeface="Lato BLACK" panose="020F0502020204030203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19EEA3-DB77-4F5C-989B-67BF523E97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273691"/>
              </a:buClr>
              <a:defRPr/>
            </a:lvl1pPr>
            <a:lvl2pPr>
              <a:buClr>
                <a:srgbClr val="273691"/>
              </a:buClr>
              <a:defRPr/>
            </a:lvl2pPr>
            <a:lvl3pPr>
              <a:buClr>
                <a:srgbClr val="273691"/>
              </a:buClr>
              <a:defRPr/>
            </a:lvl3pPr>
            <a:lvl4pPr>
              <a:buClr>
                <a:srgbClr val="273691"/>
              </a:buClr>
              <a:defRPr/>
            </a:lvl4pPr>
            <a:lvl5pPr>
              <a:buClr>
                <a:srgbClr val="27369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355573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F3F65F3-147A-409F-BD5F-FB060047C1C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396FD8D-EE0C-47B4-BCDF-F8B0F3FE9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 b="1">
                <a:solidFill>
                  <a:srgbClr val="273691"/>
                </a:solidFill>
                <a:latin typeface="Lato BLACK" panose="020F0502020204030203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E36A28-3264-4F84-A417-B343CCE7868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>
            <a:lvl1pPr>
              <a:buClr>
                <a:srgbClr val="273691"/>
              </a:buClr>
              <a:defRPr/>
            </a:lvl1pPr>
            <a:lvl2pPr>
              <a:buClr>
                <a:srgbClr val="273691"/>
              </a:buClr>
              <a:defRPr/>
            </a:lvl2pPr>
            <a:lvl3pPr>
              <a:buClr>
                <a:srgbClr val="273691"/>
              </a:buClr>
              <a:defRPr/>
            </a:lvl3pPr>
            <a:lvl4pPr>
              <a:buClr>
                <a:srgbClr val="273691"/>
              </a:buClr>
              <a:defRPr/>
            </a:lvl4pPr>
            <a:lvl5pPr>
              <a:buClr>
                <a:srgbClr val="27369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BA20F1-CB2C-45F5-A3E8-C75A8DE69C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>
            <a:lvl1pPr>
              <a:buClr>
                <a:srgbClr val="273691"/>
              </a:buClr>
              <a:defRPr/>
            </a:lvl1pPr>
            <a:lvl2pPr>
              <a:buClr>
                <a:srgbClr val="273691"/>
              </a:buClr>
              <a:defRPr/>
            </a:lvl2pPr>
            <a:lvl3pPr>
              <a:buClr>
                <a:srgbClr val="273691"/>
              </a:buClr>
              <a:defRPr/>
            </a:lvl3pPr>
            <a:lvl4pPr>
              <a:buClr>
                <a:srgbClr val="273691"/>
              </a:buClr>
              <a:defRPr/>
            </a:lvl4pPr>
            <a:lvl5pPr>
              <a:buClr>
                <a:srgbClr val="27369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85047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3613977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1904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422030" y="1371600"/>
            <a:ext cx="8229600" cy="1828800"/>
          </a:xfrm>
        </p:spPr>
        <p:txBody>
          <a:bodyPr lIns="45720" tIns="0" rIns="45720" bIns="0" anchor="b">
            <a:normAutofit/>
            <a:scene3d>
              <a:camera prst="orthographicFront"/>
              <a:lightRig rig="soft" dir="t">
                <a:rot lat="0" lon="0" rev="17220000"/>
              </a:lightRig>
            </a:scene3d>
            <a:sp3d prstMaterial="softEdge">
              <a:bevelT w="38100" h="38100"/>
            </a:sp3d>
          </a:bodyPr>
          <a:lstStyle>
            <a:lvl1pPr>
              <a:defRPr sz="4800" b="1" cap="all" baseline="0">
                <a:ln w="6350">
                  <a:noFill/>
                </a:ln>
                <a:gradFill>
                  <a:gsLst>
                    <a:gs pos="0">
                      <a:schemeClr val="accent1">
                        <a:tint val="73000"/>
                        <a:satMod val="145000"/>
                      </a:schemeClr>
                    </a:gs>
                    <a:gs pos="73000">
                      <a:schemeClr val="accent1">
                        <a:tint val="73000"/>
                        <a:satMod val="145000"/>
                      </a:schemeClr>
                    </a:gs>
                    <a:gs pos="100000">
                      <a:schemeClr val="accent1">
                        <a:tint val="83000"/>
                        <a:satMod val="143000"/>
                      </a:schemeClr>
                    </a:gs>
                  </a:gsLst>
                  <a:lin ang="4800000" scaled="1"/>
                </a:gradFill>
                <a:effectLst>
                  <a:outerShdw blurRad="127000" dist="2000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1371600" y="3331698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27"/>
          <p:cNvSpPr>
            <a:spLocks noGrp="1"/>
          </p:cNvSpPr>
          <p:nvPr>
            <p:ph type="dt" sz="half" idx="10"/>
          </p:nvPr>
        </p:nvSpPr>
        <p:spPr>
          <a:xfrm>
            <a:off x="457200" y="6416695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1" charset="-128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8566FE12-ADE8-49AD-A4EC-E84B148707EF}" type="datetimeFigureOut">
              <a:rPr lang="en-US" sz="2400">
                <a:solidFill>
                  <a:srgbClr val="4C4C4C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0/21/2019</a:t>
            </a:fld>
            <a:endParaRPr lang="en-US" sz="2400">
              <a:solidFill>
                <a:srgbClr val="4C4C4C"/>
              </a:solidFill>
            </a:endParaRPr>
          </a:p>
        </p:txBody>
      </p:sp>
      <p:sp>
        <p:nvSpPr>
          <p:cNvPr id="5" name="Footer Placeholder 16"/>
          <p:cNvSpPr>
            <a:spLocks noGrp="1"/>
          </p:cNvSpPr>
          <p:nvPr>
            <p:ph type="ftr" sz="quarter" idx="11"/>
          </p:nvPr>
        </p:nvSpPr>
        <p:spPr>
          <a:xfrm>
            <a:off x="3124200" y="6416695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1" charset="-128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4C4C4C"/>
              </a:solidFill>
            </a:endParaRPr>
          </a:p>
        </p:txBody>
      </p:sp>
      <p:sp>
        <p:nvSpPr>
          <p:cNvPr id="6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7924800" y="6416695"/>
            <a:ext cx="76200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1" charset="-128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CDC0049C-FF2F-4877-94EB-DBB07F0E991E}" type="slidenum">
              <a:rPr lang="en-US" sz="2400">
                <a:solidFill>
                  <a:srgbClr val="4C4C4C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2400">
              <a:solidFill>
                <a:srgbClr val="4C4C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85398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fr-CA" sz="3100" b="1" spc="-100" baseline="0" dirty="0" smtClean="0">
                <a:solidFill>
                  <a:schemeClr val="tx2"/>
                </a:solidFill>
              </a:defRPr>
            </a:lvl1pPr>
          </a:lstStyle>
          <a:p>
            <a:r>
              <a:rPr lang="fr-CA" dirty="0"/>
              <a:t>Click to </a:t>
            </a:r>
            <a:r>
              <a:rPr lang="fr-CA" dirty="0" err="1"/>
              <a:t>edit</a:t>
            </a:r>
            <a:r>
              <a:rPr lang="fr-CA" dirty="0"/>
              <a:t> Master </a:t>
            </a:r>
            <a:r>
              <a:rPr lang="fr-CA" dirty="0" err="1"/>
              <a:t>title</a:t>
            </a:r>
            <a:r>
              <a:rPr lang="fr-CA" dirty="0"/>
              <a:t> style</a:t>
            </a:r>
            <a:endParaRPr lang="af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af-ZA" dirty="0"/>
          </a:p>
        </p:txBody>
      </p:sp>
    </p:spTree>
    <p:extLst>
      <p:ext uri="{BB962C8B-B14F-4D97-AF65-F5344CB8AC3E}">
        <p14:creationId xmlns:p14="http://schemas.microsoft.com/office/powerpoint/2010/main" val="1763330267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03F85B-E8B5-4A07-8DC5-4A755BCC7A5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3D86E-4F55-473C-9FE9-5B94F8B107B9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0928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03F85B-E8B5-4A07-8DC5-4A755BCC7A5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3D86E-4F55-473C-9FE9-5B94F8B107B9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0928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03F85B-E8B5-4A07-8DC5-4A755BCC7A5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3D86E-4F55-473C-9FE9-5B94F8B107B9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0928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03F85B-E8B5-4A07-8DC5-4A755BCC7A5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3D86E-4F55-473C-9FE9-5B94F8B107B9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0928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03F85B-E8B5-4A07-8DC5-4A755BCC7A5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3D86E-4F55-473C-9FE9-5B94F8B107B9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0928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03F85B-E8B5-4A07-8DC5-4A755BCC7A5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3D86E-4F55-473C-9FE9-5B94F8B107B9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0928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87377" y="982516"/>
            <a:ext cx="7969250" cy="1714500"/>
          </a:xfrm>
          <a:prstGeom prst="rect">
            <a:avLst/>
          </a:prstGeom>
        </p:spPr>
        <p:txBody>
          <a:bodyPr vert="horz"/>
          <a:lstStyle>
            <a:lvl1pPr marL="0" indent="0" algn="l">
              <a:lnSpc>
                <a:spcPct val="70000"/>
              </a:lnSpc>
              <a:buNone/>
              <a:defRPr sz="2800" b="0" i="0">
                <a:solidFill>
                  <a:srgbClr val="FFFFFF"/>
                </a:solidFill>
                <a:latin typeface="Adelle Sans Thin"/>
                <a:cs typeface="Adelle Sans Thin"/>
              </a:defRPr>
            </a:lvl1pPr>
            <a:lvl2pPr marL="457200" indent="0" algn="l">
              <a:buNone/>
              <a:defRPr sz="2400">
                <a:solidFill>
                  <a:srgbClr val="595959"/>
                </a:solidFill>
                <a:latin typeface="Adelle Sans"/>
                <a:cs typeface="Adelle Sans"/>
              </a:defRPr>
            </a:lvl2pPr>
            <a:lvl3pPr marL="914400" indent="0" algn="l">
              <a:buNone/>
              <a:defRPr sz="2000">
                <a:solidFill>
                  <a:srgbClr val="595959"/>
                </a:solidFill>
                <a:latin typeface="Adelle Sans"/>
                <a:cs typeface="Adelle Sans"/>
              </a:defRPr>
            </a:lvl3pPr>
            <a:lvl4pPr marL="1371600" indent="0" algn="l">
              <a:buNone/>
              <a:defRPr sz="2000">
                <a:solidFill>
                  <a:srgbClr val="595959"/>
                </a:solidFill>
                <a:latin typeface="Adelle Sans"/>
                <a:cs typeface="Adelle Sans"/>
              </a:defRPr>
            </a:lvl4pPr>
            <a:lvl5pPr marL="1828800" indent="0" algn="l">
              <a:buNone/>
              <a:defRPr sz="2000">
                <a:solidFill>
                  <a:srgbClr val="595959"/>
                </a:solidFill>
                <a:latin typeface="Adelle Sans"/>
                <a:cs typeface="Adelle Sans"/>
              </a:defRPr>
            </a:lvl5pPr>
          </a:lstStyle>
          <a:p>
            <a:pPr lvl="0"/>
            <a:r>
              <a:rPr lang="fr-CA" dirty="0"/>
              <a:t>CLICK TO EDIT </a:t>
            </a:r>
          </a:p>
          <a:p>
            <a:pPr lvl="0"/>
            <a:r>
              <a:rPr lang="fr-CA" dirty="0"/>
              <a:t>MASTER TITLE </a:t>
            </a:r>
          </a:p>
          <a:p>
            <a:pPr lvl="0"/>
            <a:r>
              <a:rPr lang="fr-CA" dirty="0"/>
              <a:t>STYLES</a:t>
            </a:r>
          </a:p>
        </p:txBody>
      </p:sp>
    </p:spTree>
    <p:extLst>
      <p:ext uri="{BB962C8B-B14F-4D97-AF65-F5344CB8AC3E}">
        <p14:creationId xmlns:p14="http://schemas.microsoft.com/office/powerpoint/2010/main" val="36931472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87377" y="982516"/>
            <a:ext cx="7969250" cy="1714500"/>
          </a:xfrm>
          <a:prstGeom prst="rect">
            <a:avLst/>
          </a:prstGeom>
        </p:spPr>
        <p:txBody>
          <a:bodyPr vert="horz"/>
          <a:lstStyle>
            <a:lvl1pPr marL="0" indent="0" algn="l">
              <a:lnSpc>
                <a:spcPct val="70000"/>
              </a:lnSpc>
              <a:buNone/>
              <a:defRPr sz="2800" b="0" i="0">
                <a:solidFill>
                  <a:srgbClr val="FFFFFF"/>
                </a:solidFill>
                <a:latin typeface="Adelle Sans Thin"/>
                <a:cs typeface="Adelle Sans Thin"/>
              </a:defRPr>
            </a:lvl1pPr>
            <a:lvl2pPr marL="457200" indent="0" algn="l">
              <a:buNone/>
              <a:defRPr sz="2400">
                <a:solidFill>
                  <a:srgbClr val="595959"/>
                </a:solidFill>
                <a:latin typeface="Adelle Sans"/>
                <a:cs typeface="Adelle Sans"/>
              </a:defRPr>
            </a:lvl2pPr>
            <a:lvl3pPr marL="914400" indent="0" algn="l">
              <a:buNone/>
              <a:defRPr sz="2000">
                <a:solidFill>
                  <a:srgbClr val="595959"/>
                </a:solidFill>
                <a:latin typeface="Adelle Sans"/>
                <a:cs typeface="Adelle Sans"/>
              </a:defRPr>
            </a:lvl3pPr>
            <a:lvl4pPr marL="1371600" indent="0" algn="l">
              <a:buNone/>
              <a:defRPr sz="2000">
                <a:solidFill>
                  <a:srgbClr val="595959"/>
                </a:solidFill>
                <a:latin typeface="Adelle Sans"/>
                <a:cs typeface="Adelle Sans"/>
              </a:defRPr>
            </a:lvl4pPr>
            <a:lvl5pPr marL="1828800" indent="0" algn="l">
              <a:buNone/>
              <a:defRPr sz="2000">
                <a:solidFill>
                  <a:srgbClr val="595959"/>
                </a:solidFill>
                <a:latin typeface="Adelle Sans"/>
                <a:cs typeface="Adelle Sans"/>
              </a:defRPr>
            </a:lvl5pPr>
          </a:lstStyle>
          <a:p>
            <a:pPr lvl="0"/>
            <a:r>
              <a:rPr lang="fr-CA" dirty="0"/>
              <a:t>CLICK TO EDIT </a:t>
            </a:r>
          </a:p>
          <a:p>
            <a:pPr lvl="0"/>
            <a:r>
              <a:rPr lang="fr-CA" dirty="0"/>
              <a:t>MASTER TITLE </a:t>
            </a:r>
          </a:p>
          <a:p>
            <a:pPr lvl="0"/>
            <a:r>
              <a:rPr lang="fr-CA" dirty="0"/>
              <a:t>STYLES</a:t>
            </a:r>
          </a:p>
        </p:txBody>
      </p:sp>
    </p:spTree>
    <p:extLst>
      <p:ext uri="{BB962C8B-B14F-4D97-AF65-F5344CB8AC3E}">
        <p14:creationId xmlns:p14="http://schemas.microsoft.com/office/powerpoint/2010/main" val="17856462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5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29454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CA" dirty="0"/>
              <a:t>Click to </a:t>
            </a:r>
            <a:r>
              <a:rPr lang="fr-CA" dirty="0" err="1"/>
              <a:t>edit</a:t>
            </a:r>
            <a:r>
              <a:rPr lang="fr-CA" dirty="0"/>
              <a:t> Master </a:t>
            </a:r>
            <a:r>
              <a:rPr lang="fr-CA" dirty="0" err="1"/>
              <a:t>text</a:t>
            </a:r>
            <a:r>
              <a:rPr lang="fr-CA" dirty="0"/>
              <a:t> styles</a:t>
            </a:r>
          </a:p>
          <a:p>
            <a:pPr lvl="1"/>
            <a:r>
              <a:rPr lang="fr-CA" dirty="0"/>
              <a:t>Second </a:t>
            </a:r>
            <a:r>
              <a:rPr lang="fr-CA" dirty="0" err="1"/>
              <a:t>level</a:t>
            </a:r>
            <a:endParaRPr lang="fr-CA" dirty="0"/>
          </a:p>
          <a:p>
            <a:pPr lvl="2"/>
            <a:r>
              <a:rPr lang="fr-CA" dirty="0" err="1"/>
              <a:t>Third</a:t>
            </a:r>
            <a:r>
              <a:rPr lang="fr-CA" dirty="0"/>
              <a:t> </a:t>
            </a:r>
            <a:r>
              <a:rPr lang="fr-CA" dirty="0" err="1"/>
              <a:t>level</a:t>
            </a:r>
            <a:endParaRPr lang="fr-CA" dirty="0"/>
          </a:p>
          <a:p>
            <a:pPr lvl="3"/>
            <a:r>
              <a:rPr lang="fr-CA" dirty="0" err="1"/>
              <a:t>Fourth</a:t>
            </a:r>
            <a:r>
              <a:rPr lang="fr-CA" dirty="0"/>
              <a:t> </a:t>
            </a:r>
            <a:r>
              <a:rPr lang="fr-CA" dirty="0" err="1"/>
              <a:t>level</a:t>
            </a:r>
            <a:endParaRPr lang="fr-CA" dirty="0"/>
          </a:p>
          <a:p>
            <a:pPr lvl="4"/>
            <a:r>
              <a:rPr lang="fr-CA" dirty="0" err="1"/>
              <a:t>Fifth</a:t>
            </a:r>
            <a:r>
              <a:rPr lang="fr-CA" dirty="0"/>
              <a:t> </a:t>
            </a:r>
            <a:r>
              <a:rPr lang="fr-CA" dirty="0" err="1"/>
              <a:t>level</a:t>
            </a:r>
            <a:endParaRPr lang="en-US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1" y="0"/>
            <a:ext cx="4368800" cy="11338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CA" dirty="0"/>
              <a:t>CLICK TO EDIT </a:t>
            </a:r>
            <a:br>
              <a:rPr lang="fr-CA" dirty="0"/>
            </a:br>
            <a:r>
              <a:rPr lang="fr-CA" dirty="0"/>
              <a:t>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33517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7678821"/>
              </p:ext>
            </p:extLst>
          </p:nvPr>
        </p:nvGraphicFramePr>
        <p:xfrm>
          <a:off x="1589" y="160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60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46732"/>
            <a:ext cx="8229600" cy="1143000"/>
          </a:xfrm>
        </p:spPr>
        <p:txBody>
          <a:bodyPr>
            <a:noAutofit/>
          </a:bodyPr>
          <a:lstStyle>
            <a:lvl1pPr algn="l">
              <a:defRPr sz="3800" b="0">
                <a:solidFill>
                  <a:srgbClr val="52819F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CA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085976"/>
            <a:ext cx="8229600" cy="4050821"/>
          </a:xfr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7E4F2A-2734-4EFB-B7C7-42FA005E448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AFE5D-4E77-2644-BE72-1B49494483D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26170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3" y="1694609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CA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3" y="2334371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8" y="1694609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CA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8" y="2334371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  <a:p>
            <a:pPr lvl="4"/>
            <a:r>
              <a:rPr lang="en-CA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1E087-6346-4358-87F4-5D12F1CC8B2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AFE5D-4E77-2644-BE72-1B49494483D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42272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4739296"/>
              </p:ext>
            </p:extLst>
          </p:nvPr>
        </p:nvGraphicFramePr>
        <p:xfrm>
          <a:off x="1591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2119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560981"/>
            <a:ext cx="8229600" cy="1143000"/>
          </a:xfrm>
        </p:spPr>
        <p:txBody>
          <a:bodyPr>
            <a:noAutofit/>
          </a:bodyPr>
          <a:lstStyle>
            <a:lvl1pPr algn="l">
              <a:defRPr sz="3800" b="0">
                <a:solidFill>
                  <a:srgbClr val="52819F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CA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765020"/>
            <a:ext cx="8229600" cy="4371791"/>
          </a:xfr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AAB242-727C-7946-B4E9-FE76C2DC8F4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5AFE5D-4E77-2644-BE72-1B49494483D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0850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 EN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13403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E2E8A-65C7-4802-A144-46BB828C8822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19316-44C0-4687-9DBD-6C3855A787B0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7765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30200" y="266700"/>
            <a:ext cx="8496300" cy="673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 dirty="0">
                <a:solidFill>
                  <a:srgbClr val="51AEFF"/>
                </a:solidFill>
              </a:rPr>
              <a:t>Title Goes He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30200" y="1231900"/>
            <a:ext cx="8648700" cy="27051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llet 1</a:t>
            </a: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145425" y="6401038"/>
            <a:ext cx="5268490" cy="46896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500" dirty="0">
                <a:solidFill>
                  <a:srgbClr val="16AB91"/>
                </a:solidFill>
              </a:rPr>
              <a:t>February, 2019</a:t>
            </a:r>
          </a:p>
        </p:txBody>
      </p:sp>
    </p:spTree>
    <p:extLst>
      <p:ext uri="{BB962C8B-B14F-4D97-AF65-F5344CB8AC3E}">
        <p14:creationId xmlns:p14="http://schemas.microsoft.com/office/powerpoint/2010/main" val="212706677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30200" y="266700"/>
            <a:ext cx="8496300" cy="673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 dirty="0">
                <a:solidFill>
                  <a:srgbClr val="51AEFF"/>
                </a:solidFill>
              </a:rPr>
              <a:t>Title Goes He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30200" y="1231900"/>
            <a:ext cx="8648700" cy="27051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llet 1</a:t>
            </a: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145425" y="6401038"/>
            <a:ext cx="5268490" cy="46896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500" dirty="0">
                <a:solidFill>
                  <a:srgbClr val="16AB91"/>
                </a:solidFill>
              </a:rPr>
              <a:t>February, 2019</a:t>
            </a:r>
          </a:p>
        </p:txBody>
      </p:sp>
    </p:spTree>
    <p:extLst>
      <p:ext uri="{BB962C8B-B14F-4D97-AF65-F5344CB8AC3E}">
        <p14:creationId xmlns:p14="http://schemas.microsoft.com/office/powerpoint/2010/main" val="21270667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30200" y="266700"/>
            <a:ext cx="8496300" cy="6731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 dirty="0">
                <a:solidFill>
                  <a:srgbClr val="51AEFF"/>
                </a:solidFill>
              </a:rPr>
              <a:t>Title Goes He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30200" y="1231900"/>
            <a:ext cx="8648700" cy="2705100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llet 1</a:t>
            </a: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145425" y="6401038"/>
            <a:ext cx="5268490" cy="46896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500" dirty="0">
                <a:solidFill>
                  <a:srgbClr val="16AB91"/>
                </a:solidFill>
              </a:rPr>
              <a:t>February, 2019</a:t>
            </a:r>
          </a:p>
        </p:txBody>
      </p:sp>
    </p:spTree>
    <p:extLst>
      <p:ext uri="{BB962C8B-B14F-4D97-AF65-F5344CB8AC3E}">
        <p14:creationId xmlns:p14="http://schemas.microsoft.com/office/powerpoint/2010/main" val="212706677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2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298A00-DF4A-4EE1-970A-4B2C71C101D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932B3-2269-47B4-99AF-08F88D8E1001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9658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94524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298A00-DF4A-4EE1-970A-4B2C71C101D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932B3-2269-47B4-99AF-08F88D8E1001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51561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298A00-DF4A-4EE1-970A-4B2C71C101D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932B3-2269-47B4-99AF-08F88D8E1001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5156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298A00-DF4A-4EE1-970A-4B2C71C101D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932B3-2269-47B4-99AF-08F88D8E1001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5156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298A00-DF4A-4EE1-970A-4B2C71C101D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932B3-2269-47B4-99AF-08F88D8E1001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51561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298A00-DF4A-4EE1-970A-4B2C71C101D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C932B3-2269-47B4-99AF-08F88D8E1001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51561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71600" y="2590800"/>
            <a:ext cx="7086600" cy="2209800"/>
          </a:xfrm>
        </p:spPr>
        <p:txBody>
          <a:bodyPr/>
          <a:lstStyle>
            <a:lvl1pPr>
              <a:defRPr sz="4400">
                <a:latin typeface="Arial" charset="0"/>
              </a:defRPr>
            </a:lvl1pPr>
          </a:lstStyle>
          <a:p>
            <a:pPr lvl="0"/>
            <a:r>
              <a:rPr lang="fr-CA" noProof="0"/>
              <a:t>Click to edit Master title sty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7158309"/>
      </p:ext>
    </p:extLst>
  </p:cSld>
  <p:clrMapOvr>
    <a:masterClrMapping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1219200" y="3886200"/>
            <a:ext cx="6858000" cy="990600"/>
          </a:xfrm>
        </p:spPr>
        <p:txBody>
          <a:bodyPr anchor="t" anchorCtr="0"/>
          <a:lstStyle>
            <a:lvl1pPr algn="r">
              <a:defRPr sz="3200">
                <a:solidFill>
                  <a:schemeClr val="tx1"/>
                </a:solidFill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1219200" y="5124450"/>
            <a:ext cx="6858000" cy="533400"/>
          </a:xfrm>
        </p:spPr>
        <p:txBody>
          <a:bodyPr/>
          <a:lstStyle>
            <a:lvl1pPr marL="0" indent="0" algn="r">
              <a:buNone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/>
              <a:t>Click to edit Master subtitle style</a:t>
            </a:r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>
          <a:xfrm>
            <a:off x="6400800" y="6355080"/>
            <a:ext cx="2286000" cy="365760"/>
          </a:xfrm>
        </p:spPr>
        <p:txBody>
          <a:bodyPr/>
          <a:lstStyle>
            <a:lvl1pPr>
              <a:defRPr sz="1400"/>
            </a:lvl1pPr>
          </a:lstStyle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>
          <a:xfrm>
            <a:off x="2898648" y="6355080"/>
            <a:ext cx="3474720" cy="365760"/>
          </a:xfrm>
        </p:spPr>
        <p:txBody>
          <a:bodyPr/>
          <a:lstStyle/>
          <a:p>
            <a:endParaRPr lang="en-US"/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1216152" y="6355080"/>
            <a:ext cx="1219200" cy="365760"/>
          </a:xfrm>
        </p:spPr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904875" y="3648075"/>
            <a:ext cx="7315200" cy="1280160"/>
          </a:xfrm>
          <a:prstGeom prst="rect">
            <a:avLst/>
          </a:prstGeom>
          <a:noFill/>
          <a:ln w="6350" cap="rnd" cmpd="sng" algn="ctr">
            <a:solidFill>
              <a:schemeClr val="accent1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3" name="Rectangle 32"/>
          <p:cNvSpPr/>
          <p:nvPr/>
        </p:nvSpPr>
        <p:spPr>
          <a:xfrm>
            <a:off x="914400" y="5048250"/>
            <a:ext cx="7315200" cy="685800"/>
          </a:xfrm>
          <a:prstGeom prst="rect">
            <a:avLst/>
          </a:prstGeom>
          <a:noFill/>
          <a:ln w="6350" cap="rnd" cmpd="sng" algn="ctr">
            <a:solidFill>
              <a:schemeClr val="accent2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2" name="Rectangle 21"/>
          <p:cNvSpPr/>
          <p:nvPr/>
        </p:nvSpPr>
        <p:spPr>
          <a:xfrm>
            <a:off x="904875" y="3648075"/>
            <a:ext cx="228600" cy="1280160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2" name="Rectangle 31"/>
          <p:cNvSpPr/>
          <p:nvPr/>
        </p:nvSpPr>
        <p:spPr>
          <a:xfrm>
            <a:off x="914400" y="5048250"/>
            <a:ext cx="228600" cy="685800"/>
          </a:xfrm>
          <a:prstGeom prst="rect">
            <a:avLst/>
          </a:prstGeom>
          <a:solidFill>
            <a:schemeClr val="accent2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8229600" cy="4937760"/>
          </a:xfrm>
        </p:spPr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2971800"/>
            <a:ext cx="6858000" cy="1066800"/>
          </a:xfrm>
        </p:spPr>
        <p:txBody>
          <a:bodyPr anchor="t" anchorCtr="0"/>
          <a:lstStyle>
            <a:lvl1pPr algn="r">
              <a:buNone/>
              <a:defRPr sz="3200" b="0" cap="none" baseline="0"/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0" y="4267200"/>
            <a:ext cx="6781800" cy="1143000"/>
          </a:xfrm>
        </p:spPr>
        <p:txBody>
          <a:bodyPr anchor="t" anchorCtr="0"/>
          <a:lstStyle>
            <a:lvl1pPr marL="0" indent="0" algn="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400800" y="6355080"/>
            <a:ext cx="2286000" cy="365760"/>
          </a:xfrm>
        </p:spPr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8648" y="6355080"/>
            <a:ext cx="3474720" cy="36576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9848" y="6355080"/>
            <a:ext cx="1520952" cy="365760"/>
          </a:xfrm>
        </p:spPr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914400" y="2819400"/>
            <a:ext cx="7315200" cy="1280160"/>
          </a:xfrm>
          <a:prstGeom prst="rect">
            <a:avLst/>
          </a:prstGeom>
          <a:noFill/>
          <a:ln w="6350" cap="rnd" cmpd="sng" algn="ctr">
            <a:solidFill>
              <a:schemeClr val="accent1"/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Rectangle 7"/>
          <p:cNvSpPr/>
          <p:nvPr/>
        </p:nvSpPr>
        <p:spPr>
          <a:xfrm>
            <a:off x="914400" y="2819400"/>
            <a:ext cx="228600" cy="1280160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457200" y="1219200"/>
            <a:ext cx="4041648" cy="4937760"/>
          </a:xfrm>
        </p:spPr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4632198" y="1216152"/>
            <a:ext cx="4041648" cy="4937760"/>
          </a:xfrm>
        </p:spPr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5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5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64321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85875"/>
            <a:ext cx="4040188" cy="685800"/>
          </a:xfrm>
          <a:noFill/>
          <a:ln>
            <a:noFill/>
          </a:ln>
        </p:spPr>
        <p:txBody>
          <a:bodyPr lIns="91440" anchor="b" anchorCtr="0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8210" y="1295400"/>
            <a:ext cx="4041775" cy="685800"/>
          </a:xfrm>
          <a:noFill/>
          <a:ln>
            <a:noFill/>
          </a:ln>
        </p:spPr>
        <p:txBody>
          <a:bodyPr lIns="91440" anchor="b" anchorCtr="0"/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457200" y="2133600"/>
            <a:ext cx="4038600" cy="4038600"/>
          </a:xfrm>
        </p:spPr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4648200" y="2133600"/>
            <a:ext cx="4038600" cy="4038600"/>
          </a:xfrm>
        </p:spPr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14400"/>
          </a:xfrm>
        </p:spPr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Isosceles Triangle 5"/>
          <p:cNvSpPr>
            <a:spLocks noChangeAspect="1"/>
          </p:cNvSpPr>
          <p:nvPr/>
        </p:nvSpPr>
        <p:spPr>
          <a:xfrm rot="5400000">
            <a:off x="419110" y="6467485"/>
            <a:ext cx="190849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Straight Connector 4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6" name="Isosceles Triangle 5"/>
          <p:cNvSpPr>
            <a:spLocks noChangeAspect="1"/>
          </p:cNvSpPr>
          <p:nvPr/>
        </p:nvSpPr>
        <p:spPr>
          <a:xfrm rot="5400000">
            <a:off x="419110" y="6467485"/>
            <a:ext cx="190849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24600" y="304800"/>
            <a:ext cx="2514600" cy="838200"/>
          </a:xfrm>
        </p:spPr>
        <p:txBody>
          <a:bodyPr anchor="b" anchorCtr="0">
            <a:noAutofit/>
          </a:bodyPr>
          <a:lstStyle>
            <a:lvl1pPr algn="l">
              <a:buNone/>
              <a:defRPr sz="20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324600" y="1219203"/>
            <a:ext cx="2514600" cy="4843463"/>
          </a:xfrm>
        </p:spPr>
        <p:txBody>
          <a:bodyPr/>
          <a:lstStyle>
            <a:lvl1pPr marL="0" indent="0">
              <a:lnSpc>
                <a:spcPts val="2200"/>
              </a:lnSpc>
              <a:spcAft>
                <a:spcPts val="1000"/>
              </a:spcAft>
              <a:buNone/>
              <a:defRPr sz="1600">
                <a:solidFill>
                  <a:schemeClr val="tx2"/>
                </a:solidFill>
              </a:defRPr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Straight Connector 7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0" name="Straight Connector 9"/>
          <p:cNvSpPr>
            <a:spLocks noChangeShapeType="1"/>
          </p:cNvSpPr>
          <p:nvPr/>
        </p:nvSpPr>
        <p:spPr bwMode="auto">
          <a:xfrm rot="5400000">
            <a:off x="3160645" y="3324225"/>
            <a:ext cx="603504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9" name="Isosceles Triangle 8"/>
          <p:cNvSpPr>
            <a:spLocks noChangeAspect="1"/>
          </p:cNvSpPr>
          <p:nvPr/>
        </p:nvSpPr>
        <p:spPr>
          <a:xfrm rot="5400000">
            <a:off x="419110" y="6467485"/>
            <a:ext cx="190849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"/>
          </p:nvPr>
        </p:nvSpPr>
        <p:spPr>
          <a:xfrm>
            <a:off x="304800" y="304800"/>
            <a:ext cx="5715000" cy="5715000"/>
          </a:xfrm>
        </p:spPr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00856"/>
            <a:ext cx="8229600" cy="674688"/>
          </a:xfrm>
          <a:ln>
            <a:solidFill>
              <a:schemeClr val="accent1"/>
            </a:solidFill>
          </a:ln>
        </p:spPr>
        <p:txBody>
          <a:bodyPr lIns="274320" anchor="ctr"/>
          <a:lstStyle>
            <a:lvl1pPr algn="r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57200" y="1905000"/>
            <a:ext cx="8229600" cy="4270248"/>
          </a:xfrm>
          <a:solidFill>
            <a:schemeClr val="tx1">
              <a:shade val="50000"/>
            </a:schemeClr>
          </a:solidFill>
          <a:ln>
            <a:noFill/>
          </a:ln>
          <a:effectLst/>
        </p:spPr>
        <p:txBody>
          <a:bodyPr/>
          <a:lstStyle>
            <a:lvl1pPr marL="0" indent="0">
              <a:spcBef>
                <a:spcPts val="600"/>
              </a:spcBef>
              <a:buNone/>
              <a:defRPr sz="3200"/>
            </a:lvl1pPr>
          </a:lstStyle>
          <a:p>
            <a:r>
              <a:rPr kumimoji="0" lang="en-US"/>
              <a:t>Click icon to add picture</a:t>
            </a:r>
            <a:endParaRPr kumimoji="0"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219200"/>
            <a:ext cx="8229600" cy="533400"/>
          </a:xfrm>
        </p:spPr>
        <p:txBody>
          <a:bodyPr anchor="ctr" anchorCtr="0"/>
          <a:lstStyle>
            <a:lvl1pPr marL="0" indent="0" algn="l">
              <a:buFontTx/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Straight Connector 7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9" name="Isosceles Triangle 8"/>
          <p:cNvSpPr>
            <a:spLocks noChangeAspect="1"/>
          </p:cNvSpPr>
          <p:nvPr/>
        </p:nvSpPr>
        <p:spPr>
          <a:xfrm rot="5400000">
            <a:off x="419110" y="6467485"/>
            <a:ext cx="190849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Rectangle 9"/>
          <p:cNvSpPr/>
          <p:nvPr/>
        </p:nvSpPr>
        <p:spPr>
          <a:xfrm>
            <a:off x="457200" y="500856"/>
            <a:ext cx="182880" cy="685800"/>
          </a:xfrm>
          <a:prstGeom prst="rect">
            <a:avLst/>
          </a:prstGeom>
          <a:solidFill>
            <a:schemeClr val="accent1"/>
          </a:solidFill>
          <a:ln w="635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58"/>
            <a:ext cx="2057400" cy="5851525"/>
          </a:xfrm>
        </p:spPr>
        <p:txBody>
          <a:bodyPr vert="eaVert"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58"/>
            <a:ext cx="6019800" cy="5851525"/>
          </a:xfrm>
        </p:spPr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Straight Connector 6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8" name="Isosceles Triangle 7"/>
          <p:cNvSpPr>
            <a:spLocks noChangeAspect="1"/>
          </p:cNvSpPr>
          <p:nvPr/>
        </p:nvSpPr>
        <p:spPr>
          <a:xfrm rot="5400000">
            <a:off x="419110" y="6467485"/>
            <a:ext cx="190849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Straight Connector 8"/>
          <p:cNvSpPr>
            <a:spLocks noChangeShapeType="1"/>
          </p:cNvSpPr>
          <p:nvPr/>
        </p:nvSpPr>
        <p:spPr bwMode="auto">
          <a:xfrm rot="5400000">
            <a:off x="3629607" y="3201952"/>
            <a:ext cx="585216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905020"/>
            <a:ext cx="7543800" cy="2593975"/>
          </a:xfrm>
        </p:spPr>
        <p:txBody>
          <a:bodyPr anchor="b"/>
          <a:lstStyle>
            <a:lvl1pPr>
              <a:defRPr sz="660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572000"/>
            <a:ext cx="6461760" cy="10668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5" y="5486400"/>
            <a:ext cx="7659687" cy="1168400"/>
          </a:xfrm>
        </p:spPr>
        <p:txBody>
          <a:bodyPr anchor="t"/>
          <a:lstStyle>
            <a:lvl1pPr algn="l">
              <a:defRPr sz="36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5" y="3852863"/>
            <a:ext cx="6135687" cy="1633538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55270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36192"/>
            <a:ext cx="3657600" cy="4590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19600" y="1536192"/>
            <a:ext cx="3657600" cy="4590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6576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6576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19600" y="1535113"/>
            <a:ext cx="36576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419600" y="2174875"/>
            <a:ext cx="36576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5495544"/>
            <a:ext cx="7772400" cy="594360"/>
          </a:xfrm>
        </p:spPr>
        <p:txBody>
          <a:bodyPr anchor="b"/>
          <a:lstStyle>
            <a:lvl1pPr algn="ctr">
              <a:defRPr sz="22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9" y="6096000"/>
            <a:ext cx="7772401" cy="6096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04800" y="381000"/>
            <a:ext cx="7772400" cy="49428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752" y="5495278"/>
            <a:ext cx="7772400" cy="594626"/>
          </a:xfrm>
        </p:spPr>
        <p:txBody>
          <a:bodyPr anchor="b"/>
          <a:lstStyle>
            <a:lvl1pPr algn="ctr">
              <a:defRPr sz="2200" b="1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84582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1752" y="6096000"/>
            <a:ext cx="7772400" cy="612648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58"/>
            <a:ext cx="1752600" cy="5851525"/>
          </a:xfrm>
        </p:spPr>
        <p:txBody>
          <a:bodyPr vert="eaVert"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5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>
                <a:solidFill>
                  <a:prstClr val="white">
                    <a:tint val="75000"/>
                  </a:prstClr>
                </a:solidFill>
              </a:rPr>
              <a:pPr/>
              <a:t>10/21/2019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srgbClr val="90C226"/>
                </a:solidFill>
              </a:rPr>
              <a:pPr/>
              <a:t>‹#›</a:t>
            </a:fld>
            <a:endParaRPr lang="en-US" dirty="0">
              <a:solidFill>
                <a:srgbClr val="90C226"/>
              </a:solidFill>
            </a:endParaRPr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>
                <a:solidFill>
                  <a:prstClr val="white">
                    <a:tint val="75000"/>
                  </a:prstClr>
                </a:solidFill>
              </a:rPr>
              <a:pPr/>
              <a:t>10/21/2019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srgbClr val="90C226"/>
                </a:solidFill>
              </a:rPr>
              <a:pPr/>
              <a:t>‹#›</a:t>
            </a:fld>
            <a:endParaRPr lang="en-US" dirty="0">
              <a:solidFill>
                <a:srgbClr val="90C226"/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04547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>
                <a:solidFill>
                  <a:prstClr val="white">
                    <a:tint val="75000"/>
                  </a:prstClr>
                </a:solidFill>
              </a:rPr>
              <a:pPr/>
              <a:t>10/21/2019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srgbClr val="90C226"/>
                </a:solidFill>
              </a:rPr>
              <a:pPr/>
              <a:t>‹#›</a:t>
            </a:fld>
            <a:endParaRPr lang="en-US" dirty="0">
              <a:solidFill>
                <a:srgbClr val="90C226"/>
              </a:solidFill>
            </a:endParaRP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>
                <a:solidFill>
                  <a:prstClr val="white">
                    <a:tint val="75000"/>
                  </a:prstClr>
                </a:solidFill>
              </a:rPr>
              <a:pPr/>
              <a:t>10/21/2019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srgbClr val="90C226"/>
                </a:solidFill>
              </a:rPr>
              <a:pPr/>
              <a:t>‹#›</a:t>
            </a:fld>
            <a:endParaRPr lang="en-US" dirty="0">
              <a:solidFill>
                <a:srgbClr val="90C226"/>
              </a:solidFill>
            </a:endParaRP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>
                <a:solidFill>
                  <a:prstClr val="white">
                    <a:tint val="75000"/>
                  </a:prstClr>
                </a:solidFill>
              </a:rPr>
              <a:pPr/>
              <a:t>10/21/2019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srgbClr val="90C226"/>
                </a:solidFill>
              </a:rPr>
              <a:pPr/>
              <a:t>‹#›</a:t>
            </a:fld>
            <a:endParaRPr lang="en-US" dirty="0">
              <a:solidFill>
                <a:srgbClr val="90C226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7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1518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4930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3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24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25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26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heme" Target="../theme/theme14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7.jpeg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theme" Target="../theme/theme1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heme" Target="../theme/theme16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10" Type="http://schemas.openxmlformats.org/officeDocument/2006/relationships/image" Target="../media/image10.png"/><Relationship Id="rId4" Type="http://schemas.openxmlformats.org/officeDocument/2006/relationships/vmlDrawing" Target="../drawings/vmlDrawing1.vml"/><Relationship Id="rId9" Type="http://schemas.openxmlformats.org/officeDocument/2006/relationships/image" Target="../media/image9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vmlDrawing" Target="../drawings/vmlDrawing3.vml"/><Relationship Id="rId7" Type="http://schemas.openxmlformats.org/officeDocument/2006/relationships/image" Target="../media/image12.png"/><Relationship Id="rId2" Type="http://schemas.openxmlformats.org/officeDocument/2006/relationships/theme" Target="../theme/theme17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_rels/slideMaster18.xml.rels><?xml version="1.0" encoding="UTF-8" standalone="yes"?>
<Relationships xmlns="http://schemas.openxmlformats.org/package/2006/relationships"><Relationship Id="rId2" Type="http://schemas.openxmlformats.org/officeDocument/2006/relationships/theme" Target="../theme/theme18.xml"/><Relationship Id="rId1" Type="http://schemas.openxmlformats.org/officeDocument/2006/relationships/slideLayout" Target="../slideLayouts/slideLayout34.xml"/></Relationships>
</file>

<file path=ppt/slideMasters/_rels/slideMaster19.xml.rels><?xml version="1.0" encoding="UTF-8" standalone="yes"?>
<Relationships xmlns="http://schemas.openxmlformats.org/package/2006/relationships"><Relationship Id="rId2" Type="http://schemas.openxmlformats.org/officeDocument/2006/relationships/theme" Target="../theme/theme19.xml"/><Relationship Id="rId1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.jpeg"/></Relationships>
</file>

<file path=ppt/slideMasters/_rels/slideMaster20.xml.rels><?xml version="1.0" encoding="UTF-8" standalone="yes"?>
<Relationships xmlns="http://schemas.openxmlformats.org/package/2006/relationships"><Relationship Id="rId2" Type="http://schemas.openxmlformats.org/officeDocument/2006/relationships/theme" Target="../theme/theme20.xml"/><Relationship Id="rId1" Type="http://schemas.openxmlformats.org/officeDocument/2006/relationships/slideLayout" Target="../slideLayouts/slideLayout36.xml"/></Relationships>
</file>

<file path=ppt/slideMasters/_rels/slideMaster21.xml.rels><?xml version="1.0" encoding="UTF-8" standalone="yes"?>
<Relationships xmlns="http://schemas.openxmlformats.org/package/2006/relationships"><Relationship Id="rId2" Type="http://schemas.openxmlformats.org/officeDocument/2006/relationships/theme" Target="../theme/theme21.xml"/><Relationship Id="rId1" Type="http://schemas.openxmlformats.org/officeDocument/2006/relationships/slideLayout" Target="../slideLayouts/slideLayout37.xml"/></Relationships>
</file>

<file path=ppt/slideMasters/_rels/slideMaster2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2.xml"/><Relationship Id="rId1" Type="http://schemas.openxmlformats.org/officeDocument/2006/relationships/slideLayout" Target="../slideLayouts/slideLayout38.xml"/></Relationships>
</file>

<file path=ppt/slideMasters/_rels/slideMaster23.xml.rels><?xml version="1.0" encoding="UTF-8" standalone="yes"?>
<Relationships xmlns="http://schemas.openxmlformats.org/package/2006/relationships"><Relationship Id="rId2" Type="http://schemas.openxmlformats.org/officeDocument/2006/relationships/theme" Target="../theme/theme23.xml"/><Relationship Id="rId1" Type="http://schemas.openxmlformats.org/officeDocument/2006/relationships/slideLayout" Target="../slideLayouts/slideLayout39.xml"/></Relationships>
</file>

<file path=ppt/slideMasters/_rels/slideMaster24.xml.rels><?xml version="1.0" encoding="UTF-8" standalone="yes"?>
<Relationships xmlns="http://schemas.openxmlformats.org/package/2006/relationships"><Relationship Id="rId2" Type="http://schemas.openxmlformats.org/officeDocument/2006/relationships/theme" Target="../theme/theme24.xml"/><Relationship Id="rId1" Type="http://schemas.openxmlformats.org/officeDocument/2006/relationships/slideLayout" Target="../slideLayouts/slideLayout40.xml"/></Relationships>
</file>

<file path=ppt/slideMasters/_rels/slideMaster25.xml.rels><?xml version="1.0" encoding="UTF-8" standalone="yes"?>
<Relationships xmlns="http://schemas.openxmlformats.org/package/2006/relationships"><Relationship Id="rId2" Type="http://schemas.openxmlformats.org/officeDocument/2006/relationships/theme" Target="../theme/theme25.xml"/><Relationship Id="rId1" Type="http://schemas.openxmlformats.org/officeDocument/2006/relationships/slideLayout" Target="../slideLayouts/slideLayout41.xml"/></Relationships>
</file>

<file path=ppt/slideMasters/_rels/slideMaster26.xml.rels><?xml version="1.0" encoding="UTF-8" standalone="yes"?>
<Relationships xmlns="http://schemas.openxmlformats.org/package/2006/relationships"><Relationship Id="rId2" Type="http://schemas.openxmlformats.org/officeDocument/2006/relationships/theme" Target="../theme/theme26.xml"/><Relationship Id="rId1" Type="http://schemas.openxmlformats.org/officeDocument/2006/relationships/slideLayout" Target="../slideLayouts/slideLayout42.xml"/></Relationships>
</file>

<file path=ppt/slideMasters/_rels/slideMaster27.xml.rels><?xml version="1.0" encoding="UTF-8" standalone="yes"?>
<Relationships xmlns="http://schemas.openxmlformats.org/package/2006/relationships"><Relationship Id="rId2" Type="http://schemas.openxmlformats.org/officeDocument/2006/relationships/theme" Target="../theme/theme27.xml"/><Relationship Id="rId1" Type="http://schemas.openxmlformats.org/officeDocument/2006/relationships/slideLayout" Target="../slideLayouts/slideLayout43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theme" Target="../theme/theme28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29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4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theme" Target="../theme/theme30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_rels/slideMaster31.xml.rels><?xml version="1.0" encoding="UTF-8" standalone="yes"?>
<Relationships xmlns="http://schemas.openxmlformats.org/package/2006/relationships"><Relationship Id="rId2" Type="http://schemas.openxmlformats.org/officeDocument/2006/relationships/theme" Target="../theme/theme31.xml"/><Relationship Id="rId1" Type="http://schemas.openxmlformats.org/officeDocument/2006/relationships/slideLayout" Target="../slideLayouts/slideLayout68.xml"/></Relationships>
</file>

<file path=ppt/slideMasters/_rels/slideMaster32.xml.rels><?xml version="1.0" encoding="UTF-8" standalone="yes"?>
<Relationships xmlns="http://schemas.openxmlformats.org/package/2006/relationships"><Relationship Id="rId2" Type="http://schemas.openxmlformats.org/officeDocument/2006/relationships/theme" Target="../theme/theme32.xml"/><Relationship Id="rId1" Type="http://schemas.openxmlformats.org/officeDocument/2006/relationships/slideLayout" Target="../slideLayouts/slideLayout69.xml"/></Relationships>
</file>

<file path=ppt/slideMasters/_rels/slideMaster3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3.xml"/><Relationship Id="rId1" Type="http://schemas.openxmlformats.org/officeDocument/2006/relationships/slideLayout" Target="../slideLayouts/slideLayout70.xml"/></Relationships>
</file>

<file path=ppt/slideMasters/_rels/slideMaster34.xml.rels><?xml version="1.0" encoding="UTF-8" standalone="yes"?>
<Relationships xmlns="http://schemas.openxmlformats.org/package/2006/relationships"><Relationship Id="rId2" Type="http://schemas.openxmlformats.org/officeDocument/2006/relationships/theme" Target="../theme/theme34.xml"/><Relationship Id="rId1" Type="http://schemas.openxmlformats.org/officeDocument/2006/relationships/slideLayout" Target="../slideLayouts/slideLayout71.xml"/></Relationships>
</file>

<file path=ppt/slideMasters/_rels/slideMaster35.xml.rels><?xml version="1.0" encoding="UTF-8" standalone="yes"?>
<Relationships xmlns="http://schemas.openxmlformats.org/package/2006/relationships"><Relationship Id="rId2" Type="http://schemas.openxmlformats.org/officeDocument/2006/relationships/theme" Target="../theme/theme35.xml"/><Relationship Id="rId1" Type="http://schemas.openxmlformats.org/officeDocument/2006/relationships/slideLayout" Target="../slideLayouts/slideLayout72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5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6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7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8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5.jpeg"/><Relationship Id="rId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40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40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40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94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03F85B-E8B5-4A07-8DC5-4A755BCC7A5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7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A3D86E-4F55-473C-9FE9-5B94F8B107B9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2" descr="Public Health PPT banner2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73216"/>
            <a:ext cx="9144000" cy="1484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98245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03F85B-E8B5-4A07-8DC5-4A755BCC7A5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7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A3D86E-4F55-473C-9FE9-5B94F8B107B9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2" descr="Public Health PPT banner2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73216"/>
            <a:ext cx="9144000" cy="1484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98245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03F85B-E8B5-4A07-8DC5-4A755BCC7A5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7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A3D86E-4F55-473C-9FE9-5B94F8B107B9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2" descr="Public Health PPT banner2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73216"/>
            <a:ext cx="9144000" cy="1484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98245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03F85B-E8B5-4A07-8DC5-4A755BCC7A5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7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A3D86E-4F55-473C-9FE9-5B94F8B107B9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2" descr="Public Health PPT banner2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73216"/>
            <a:ext cx="9144000" cy="1484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98245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03F85B-E8B5-4A07-8DC5-4A755BCC7A5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7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A3D86E-4F55-473C-9FE9-5B94F8B107B9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2" descr="Public Health PPT banner2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73216"/>
            <a:ext cx="9144000" cy="1484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98245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32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CA" dirty="0"/>
              <a:t>Click to </a:t>
            </a:r>
            <a:r>
              <a:rPr lang="fr-CA" dirty="0" err="1"/>
              <a:t>edit</a:t>
            </a:r>
            <a:r>
              <a:rPr lang="fr-CA" dirty="0"/>
              <a:t> Master </a:t>
            </a:r>
            <a:r>
              <a:rPr lang="fr-CA" dirty="0" err="1"/>
              <a:t>text</a:t>
            </a:r>
            <a:r>
              <a:rPr lang="fr-CA" dirty="0"/>
              <a:t> styles</a:t>
            </a:r>
          </a:p>
          <a:p>
            <a:pPr lvl="1"/>
            <a:r>
              <a:rPr lang="fr-CA" dirty="0"/>
              <a:t>Second </a:t>
            </a:r>
            <a:r>
              <a:rPr lang="fr-CA" dirty="0" err="1"/>
              <a:t>level</a:t>
            </a:r>
            <a:endParaRPr lang="fr-CA" dirty="0"/>
          </a:p>
          <a:p>
            <a:pPr lvl="2"/>
            <a:r>
              <a:rPr lang="fr-CA" dirty="0" err="1"/>
              <a:t>Third</a:t>
            </a:r>
            <a:r>
              <a:rPr lang="fr-CA" dirty="0"/>
              <a:t> </a:t>
            </a:r>
            <a:r>
              <a:rPr lang="fr-CA" dirty="0" err="1"/>
              <a:t>level</a:t>
            </a:r>
            <a:endParaRPr lang="fr-CA" dirty="0"/>
          </a:p>
          <a:p>
            <a:pPr lvl="3"/>
            <a:r>
              <a:rPr lang="fr-CA" dirty="0" err="1"/>
              <a:t>Fourth</a:t>
            </a:r>
            <a:r>
              <a:rPr lang="fr-CA" dirty="0"/>
              <a:t> </a:t>
            </a:r>
            <a:r>
              <a:rPr lang="fr-CA" dirty="0" err="1"/>
              <a:t>level</a:t>
            </a:r>
            <a:endParaRPr lang="fr-CA" dirty="0"/>
          </a:p>
          <a:p>
            <a:pPr lvl="4"/>
            <a:r>
              <a:rPr lang="fr-CA" dirty="0" err="1"/>
              <a:t>Fifth</a:t>
            </a:r>
            <a:r>
              <a:rPr lang="fr-CA" dirty="0"/>
              <a:t> </a:t>
            </a:r>
            <a:r>
              <a:rPr lang="fr-CA" dirty="0" err="1"/>
              <a:t>level</a:t>
            </a:r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567867" y="6405114"/>
            <a:ext cx="796472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457200"/>
            <a:r>
              <a:rPr lang="fr-CA" sz="800" dirty="0">
                <a:solidFill>
                  <a:srgbClr val="C42B37"/>
                </a:solidFill>
                <a:latin typeface="AdelleSans-Regular"/>
                <a:cs typeface="AdelleSans-Regular"/>
              </a:rPr>
              <a:t>NEW BRUNSWICK TOURISM, HERITAGE AND CULTURE</a:t>
            </a:r>
          </a:p>
          <a:p>
            <a:pPr algn="r" defTabSz="457200">
              <a:defRPr/>
            </a:pPr>
            <a:r>
              <a:rPr lang="en-CA" sz="800" dirty="0">
                <a:ln w="18415" cmpd="sng">
                  <a:noFill/>
                  <a:prstDash val="solid"/>
                </a:ln>
                <a:solidFill>
                  <a:srgbClr val="C42B37"/>
                </a:solidFill>
                <a:latin typeface="AdelleSans-Regular"/>
                <a:cs typeface="AdelleSans-Regular"/>
              </a:rPr>
              <a:t>A PROPOSAL BY </a:t>
            </a:r>
            <a:r>
              <a:rPr lang="fr-CA" sz="800" dirty="0">
                <a:ln w="18415" cmpd="sng">
                  <a:noFill/>
                  <a:prstDash val="solid"/>
                </a:ln>
                <a:solidFill>
                  <a:srgbClr val="C42B37"/>
                </a:solidFill>
                <a:latin typeface="AdelleSans-Regular"/>
                <a:cs typeface="AdelleSans-Regular"/>
              </a:rPr>
              <a:t>000000</a:t>
            </a:r>
            <a:endParaRPr lang="en-US" sz="800" dirty="0">
              <a:solidFill>
                <a:srgbClr val="C42B37"/>
              </a:solidFill>
              <a:latin typeface="AdelleSans-Regular"/>
              <a:cs typeface="AdelleSans-Regular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598716" y="6318727"/>
            <a:ext cx="7946572" cy="1"/>
          </a:xfrm>
          <a:prstGeom prst="line">
            <a:avLst/>
          </a:prstGeom>
          <a:ln>
            <a:solidFill>
              <a:srgbClr val="C42B38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0"/>
            <a:ext cx="4368800" cy="11338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CA" dirty="0"/>
              <a:t>CLICK TO EDIT </a:t>
            </a:r>
            <a:br>
              <a:rPr lang="fr-CA" dirty="0"/>
            </a:br>
            <a:r>
              <a:rPr lang="fr-CA" dirty="0"/>
              <a:t>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857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</p:sldLayoutIdLst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rgbClr val="FFFFFF"/>
          </a:solidFill>
          <a:latin typeface="Adelle Sans Light"/>
          <a:ea typeface="+mj-ea"/>
          <a:cs typeface="Adelle Sans 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rgbClr val="C42B37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rgbClr val="595959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rgbClr val="595959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595959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595959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95252827"/>
              </p:ext>
            </p:extLst>
          </p:nvPr>
        </p:nvGraphicFramePr>
        <p:xfrm>
          <a:off x="1589" y="160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60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6"/>
            </p:custDataLst>
          </p:nvPr>
        </p:nvSpPr>
        <p:spPr>
          <a:xfrm>
            <a:off x="2" y="22"/>
            <a:ext cx="158751" cy="15875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CA" sz="3800" dirty="0">
              <a:solidFill>
                <a:prstClr val="white"/>
              </a:solidFill>
              <a:latin typeface="Trebuchet MS"/>
              <a:sym typeface="Trebuchet MS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4503" y="0"/>
            <a:ext cx="3746500" cy="81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869951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CA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143128"/>
            <a:ext cx="8229600" cy="39830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7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D891325F-40B1-437B-89A4-48002DD068E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10/21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7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7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705AFE5D-4E77-2644-BE72-1B49494483D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607" y="139685"/>
            <a:ext cx="3286584" cy="514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772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</p:sldLayoutIdLst>
  <p:hf sldNum="0" hdr="0" ftr="0"/>
  <p:txStyles>
    <p:titleStyle>
      <a:lvl1pPr algn="l" defTabSz="457200" rtl="0" eaLnBrk="1" latinLnBrk="0" hangingPunct="1">
        <a:spcBef>
          <a:spcPct val="0"/>
        </a:spcBef>
        <a:buNone/>
        <a:defRPr sz="3800" kern="1200">
          <a:solidFill>
            <a:srgbClr val="52819F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000" kern="1200">
          <a:solidFill>
            <a:schemeClr val="bg1">
              <a:lumMod val="50000"/>
            </a:schemeClr>
          </a:solidFill>
          <a:latin typeface="Trebuchet MS" panose="020B0603020202020204" pitchFamily="34" charset="0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bg1">
              <a:lumMod val="50000"/>
            </a:schemeClr>
          </a:solidFill>
          <a:latin typeface="Trebuchet MS" panose="020B0603020202020204" pitchFamily="34" charset="0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bg1">
              <a:lumMod val="50000"/>
            </a:schemeClr>
          </a:solidFill>
          <a:latin typeface="Trebuchet MS" panose="020B0603020202020204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bg1">
              <a:lumMod val="50000"/>
            </a:schemeClr>
          </a:solidFill>
          <a:latin typeface="Trebuchet MS" panose="020B0603020202020204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bg1">
              <a:lumMod val="50000"/>
            </a:schemeClr>
          </a:solidFill>
          <a:latin typeface="Trebuchet MS" panose="020B0603020202020204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51589168"/>
              </p:ext>
            </p:extLst>
          </p:nvPr>
        </p:nvGraphicFramePr>
        <p:xfrm>
          <a:off x="1591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2119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0235" y="2461"/>
            <a:ext cx="3454400" cy="777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622004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CA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765013"/>
            <a:ext cx="8229600" cy="43611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CA" dirty="0"/>
              <a:t>Click to edit Master text styles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7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A6AAB242-727C-7946-B4E9-FE76C2DC8F4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10/2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7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1" y="635637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705AFE5D-4E77-2644-BE72-1B49494483D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5118" y="133895"/>
            <a:ext cx="3105584" cy="514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194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</p:sldLayoutIdLst>
  <p:txStyles>
    <p:titleStyle>
      <a:lvl1pPr algn="l" defTabSz="457200" rtl="0" eaLnBrk="1" latinLnBrk="0" hangingPunct="1">
        <a:spcBef>
          <a:spcPct val="0"/>
        </a:spcBef>
        <a:buNone/>
        <a:defRPr sz="3800" kern="1200">
          <a:solidFill>
            <a:srgbClr val="52819F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000" kern="1200">
          <a:solidFill>
            <a:schemeClr val="bg1">
              <a:lumMod val="50000"/>
            </a:schemeClr>
          </a:solidFill>
          <a:latin typeface="Trebuchet MS" panose="020B0603020202020204" pitchFamily="34" charset="0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bg1">
              <a:lumMod val="50000"/>
            </a:schemeClr>
          </a:solidFill>
          <a:latin typeface="Trebuchet MS" panose="020B0603020202020204" pitchFamily="34" charset="0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bg1">
              <a:lumMod val="50000"/>
            </a:schemeClr>
          </a:solidFill>
          <a:latin typeface="Trebuchet MS" panose="020B0603020202020204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bg1">
              <a:lumMod val="50000"/>
            </a:schemeClr>
          </a:solidFill>
          <a:latin typeface="Trebuchet MS" panose="020B0603020202020204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bg1">
              <a:lumMod val="50000"/>
            </a:schemeClr>
          </a:solidFill>
          <a:latin typeface="Trebuchet MS" panose="020B0603020202020204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E2E8A-65C7-4802-A144-46BB828C8822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7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F19316-44C0-4687-9DBD-6C3855A787B0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268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E2E8A-65C7-4802-A144-46BB828C8822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7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F19316-44C0-4687-9DBD-6C3855A787B0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268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>
            <a:extLst/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95400" y="381000"/>
            <a:ext cx="7315200" cy="76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25399" dir="2700000" algn="ctr" rotWithShape="0">
                    <a:srgbClr val="808080">
                      <a:alpha val="75000"/>
                    </a:srgb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CA"/>
              <a:t>Click to edit Master title style</a:t>
            </a:r>
            <a:endParaRPr lang="en-US"/>
          </a:p>
        </p:txBody>
      </p:sp>
      <p:sp>
        <p:nvSpPr>
          <p:cNvPr id="21507" name="Rectangle 3">
            <a:extLst/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295400" y="1905000"/>
            <a:ext cx="7315200" cy="3276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50800" dist="25399" dir="2700000" algn="ctr" rotWithShape="0">
                    <a:srgbClr val="808080">
                      <a:alpha val="75000"/>
                    </a:srgb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CA"/>
              <a:t>Click to edit Master text styles</a:t>
            </a:r>
          </a:p>
          <a:p>
            <a:pPr lvl="1"/>
            <a:r>
              <a:rPr lang="fr-CA"/>
              <a:t>Second level</a:t>
            </a:r>
          </a:p>
          <a:p>
            <a:pPr lvl="2"/>
            <a:r>
              <a:rPr lang="fr-CA"/>
              <a:t>Third level</a:t>
            </a:r>
          </a:p>
          <a:p>
            <a:pPr lvl="3"/>
            <a:r>
              <a:rPr lang="fr-CA"/>
              <a:t>Fourth level</a:t>
            </a:r>
          </a:p>
          <a:p>
            <a:pPr lvl="4"/>
            <a:r>
              <a:rPr lang="fr-CA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ransition spd="med">
    <p:fad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Bold" pitchFamily="1" charset="0"/>
          <a:ea typeface="ＭＳ Ｐゴシック" pitchFamily="1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Bold" pitchFamily="1" charset="0"/>
          <a:ea typeface="ＭＳ Ｐゴシック" pitchFamily="1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Bold" pitchFamily="1" charset="0"/>
          <a:ea typeface="ＭＳ Ｐゴシック" pitchFamily="1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Bold" pitchFamily="1" charset="0"/>
          <a:ea typeface="ＭＳ Ｐゴシック" pitchFamily="1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Bold" pitchFamily="1" charset="0"/>
          <a:ea typeface="ＭＳ Ｐゴシック" pitchFamily="1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Bold" pitchFamily="1" charset="0"/>
          <a:ea typeface="ＭＳ Ｐゴシック" pitchFamily="1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Bold" pitchFamily="1" charset="0"/>
          <a:ea typeface="ＭＳ Ｐゴシック" pitchFamily="1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Bold" pitchFamily="1" charset="0"/>
          <a:ea typeface="ＭＳ Ｐゴシック" pitchFamily="1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Tahoma" pitchFamily="34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Tahoma" pitchFamily="34" charset="0"/>
        <a:buChar char="•"/>
        <a:defRPr sz="20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Tahoma" pitchFamily="34" charset="0"/>
        <a:buChar char="•"/>
        <a:defRPr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Tahoma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Tahoma" pitchFamily="34" charset="0"/>
        <a:buChar char="•"/>
        <a:defRPr sz="14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Tahoma" pitchFamily="1" charset="0"/>
        <a:buChar char="•"/>
        <a:defRPr sz="14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Tahoma" pitchFamily="1" charset="0"/>
        <a:buChar char="•"/>
        <a:defRPr sz="14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Tahoma" pitchFamily="1" charset="0"/>
        <a:buChar char="•"/>
        <a:defRPr sz="14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Tahoma" pitchFamily="1" charset="0"/>
        <a:buChar char="•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E2E8A-65C7-4802-A144-46BB828C8822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7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F19316-44C0-4687-9DBD-6C3855A787B0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268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E2E8A-65C7-4802-A144-46BB828C8822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7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F19316-44C0-4687-9DBD-6C3855A787B0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268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E2E8A-65C7-4802-A144-46BB828C8822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7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F19316-44C0-4687-9DBD-6C3855A787B0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268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298A00-DF4A-4EE1-970A-4B2C71C101D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7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C932B3-2269-47B4-99AF-08F88D8E1001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708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298A00-DF4A-4EE1-970A-4B2C71C101D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7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C932B3-2269-47B4-99AF-08F88D8E1001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708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298A00-DF4A-4EE1-970A-4B2C71C101D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7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C932B3-2269-47B4-99AF-08F88D8E1001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708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298A00-DF4A-4EE1-970A-4B2C71C101D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7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C932B3-2269-47B4-99AF-08F88D8E1001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708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298A00-DF4A-4EE1-970A-4B2C71C101D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7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C932B3-2269-47B4-99AF-08F88D8E1001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708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298A00-DF4A-4EE1-970A-4B2C71C101D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7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C932B3-2269-47B4-99AF-08F88D8E1001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708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31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990600"/>
          </a:xfrm>
          <a:prstGeom prst="rect">
            <a:avLst/>
          </a:prstGeom>
        </p:spPr>
        <p:txBody>
          <a:bodyPr vert="horz" anchor="b" anchorCtr="0">
            <a:normAutofit/>
          </a:bodyPr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219200"/>
            <a:ext cx="8229600" cy="4910328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/>
              <a:t>Click to edit Master text styles</a:t>
            </a:r>
          </a:p>
          <a:p>
            <a:pPr lvl="1" eaLnBrk="1" latinLnBrk="0" hangingPunct="1"/>
            <a:r>
              <a:rPr kumimoji="0" lang="en-US"/>
              <a:t>Second level</a:t>
            </a:r>
          </a:p>
          <a:p>
            <a:pPr lvl="2" eaLnBrk="1" latinLnBrk="0" hangingPunct="1"/>
            <a:r>
              <a:rPr kumimoji="0" lang="en-US"/>
              <a:t>Third level</a:t>
            </a:r>
          </a:p>
          <a:p>
            <a:pPr lvl="3" eaLnBrk="1" latinLnBrk="0" hangingPunct="1"/>
            <a:r>
              <a:rPr kumimoji="0" lang="en-US"/>
              <a:t>Fourth level</a:t>
            </a:r>
          </a:p>
          <a:p>
            <a:pPr lvl="4" eaLnBrk="1" latinLnBrk="0" hangingPunct="1"/>
            <a:r>
              <a:rPr kumimoji="0" lang="en-US"/>
              <a:t>Fifth level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400800" y="6356350"/>
            <a:ext cx="2289048" cy="365760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98648" y="6356350"/>
            <a:ext cx="3505200" cy="365760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612648" y="6356350"/>
            <a:ext cx="1981200" cy="365760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  <p:sp>
        <p:nvSpPr>
          <p:cNvPr id="28" name="Straight Connector 27"/>
          <p:cNvSpPr>
            <a:spLocks noChangeShapeType="1"/>
          </p:cNvSpPr>
          <p:nvPr/>
        </p:nvSpPr>
        <p:spPr bwMode="auto">
          <a:xfrm>
            <a:off x="457200" y="6353175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29" name="Straight Connector 28"/>
          <p:cNvSpPr>
            <a:spLocks noChangeShapeType="1"/>
          </p:cNvSpPr>
          <p:nvPr/>
        </p:nvSpPr>
        <p:spPr bwMode="auto">
          <a:xfrm>
            <a:off x="457200" y="1143000"/>
            <a:ext cx="8229600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0" name="Isosceles Triangle 9"/>
          <p:cNvSpPr>
            <a:spLocks noChangeAspect="1"/>
          </p:cNvSpPr>
          <p:nvPr/>
        </p:nvSpPr>
        <p:spPr>
          <a:xfrm rot="5400000">
            <a:off x="419110" y="6467485"/>
            <a:ext cx="190849" cy="12031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</p:sldLayoutIdLst>
  <p:txStyles>
    <p:titleStyle>
      <a:lvl1pPr algn="l" rtl="0" eaLnBrk="1" latinLnBrk="0" hangingPunct="1">
        <a:spcBef>
          <a:spcPct val="0"/>
        </a:spcBef>
        <a:buNone/>
        <a:defRPr kumimoji="0" sz="32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ts val="600"/>
        </a:spcBef>
        <a:buClr>
          <a:schemeClr val="accent1"/>
        </a:buClr>
        <a:buSzPct val="76000"/>
        <a:buFont typeface="Wingdings 3"/>
        <a:buChar char="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274320" algn="l" rtl="0" eaLnBrk="1" latinLnBrk="0" hangingPunct="1">
        <a:spcBef>
          <a:spcPts val="500"/>
        </a:spcBef>
        <a:buClr>
          <a:schemeClr val="accent2"/>
        </a:buClr>
        <a:buSzPct val="76000"/>
        <a:buFont typeface="Wingdings 3"/>
        <a:buChar char=""/>
        <a:defRPr kumimoji="0" sz="2300" kern="1200">
          <a:solidFill>
            <a:schemeClr val="tx2"/>
          </a:solidFill>
          <a:latin typeface="+mn-lt"/>
          <a:ea typeface="+mn-ea"/>
          <a:cs typeface="+mn-cs"/>
        </a:defRPr>
      </a:lvl2pPr>
      <a:lvl3pPr marL="822960" indent="-228600" algn="l" rtl="0" eaLnBrk="1" latinLnBrk="0" hangingPunct="1">
        <a:spcBef>
          <a:spcPts val="500"/>
        </a:spcBef>
        <a:buClr>
          <a:schemeClr val="bg1">
            <a:shade val="50000"/>
          </a:schemeClr>
        </a:buClr>
        <a:buSzPct val="76000"/>
        <a:buFont typeface="Wingdings 3"/>
        <a:buChar char="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228600" algn="l" rtl="0" eaLnBrk="1" latinLnBrk="0" hangingPunct="1">
        <a:spcBef>
          <a:spcPts val="400"/>
        </a:spcBef>
        <a:buClr>
          <a:schemeClr val="accent2">
            <a:shade val="75000"/>
          </a:schemeClr>
        </a:buClr>
        <a:buSzPct val="70000"/>
        <a:buFont typeface="Wingdings"/>
        <a:buChar char="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00"/>
        </a:spcBef>
        <a:buClr>
          <a:schemeClr val="accent2"/>
        </a:buClr>
        <a:buSzPct val="70000"/>
        <a:buFont typeface="Wingdings"/>
        <a:buChar char="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45920" indent="-182880" algn="l" rtl="0" eaLnBrk="1" latinLnBrk="0" hangingPunct="1">
        <a:spcBef>
          <a:spcPts val="300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ts val="300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400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2011680" indent="-182880" algn="l" rtl="0" eaLnBrk="1" latinLnBrk="0" hangingPunct="1">
        <a:spcBef>
          <a:spcPts val="300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400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2194560" indent="-182880" algn="l" rtl="0" eaLnBrk="1" latinLnBrk="0" hangingPunct="1">
        <a:spcBef>
          <a:spcPts val="300"/>
        </a:spcBef>
        <a:buClr>
          <a:srgbClr val="9FB8CD"/>
        </a:buClr>
        <a:buSzPct val="75000"/>
        <a:buFont typeface="Wingdings 3"/>
        <a:buChar char=""/>
        <a:defRPr kumimoji="0" lang="en-US" sz="1200" kern="120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D24B473-0C90-4F60-AC05-FE69D8018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DC45A2-93F7-40D8-A5B6-6013A86C71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5E2CEF-6289-4A0D-B6AE-52B07864D9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9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Lato" panose="020F0502020204030203" pitchFamily="34" charset="0"/>
              </a:defRPr>
            </a:lvl1pPr>
          </a:lstStyle>
          <a:p>
            <a:fld id="{6D7D2D8B-6E64-4137-8009-12D151E7215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09954F-87A5-4691-B506-40AEA6C677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99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Lato" panose="020F0502020204030203" pitchFamily="34" charset="0"/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6E3659-05D5-4638-8EAF-173D6BB460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9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Lato" panose="020F0502020204030203" pitchFamily="34" charset="0"/>
              </a:defRPr>
            </a:lvl1pPr>
          </a:lstStyle>
          <a:p>
            <a:fld id="{33AEE824-F468-4987-83BF-07B3A2782C4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914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Lato" panose="020F050202020403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27369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27369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27369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27369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27369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620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7620000" cy="48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8458200" y="0"/>
            <a:ext cx="6858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458200" y="5486400"/>
            <a:ext cx="685800" cy="685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  <a:ln w="19050">
            <a:solidFill>
              <a:srgbClr val="FFFFFF"/>
            </a:solidFill>
          </a:ln>
        </p:spPr>
        <p:txBody>
          <a:bodyPr vert="horz" lIns="0" tIns="0" rIns="0" bIns="0" rtlCol="0" anchor="ctr"/>
          <a:lstStyle>
            <a:lvl1pPr algn="ctr">
              <a:defRPr sz="1800">
                <a:solidFill>
                  <a:srgbClr val="FFFFFF"/>
                </a:solidFill>
              </a:defRPr>
            </a:lvl1pPr>
          </a:lstStyle>
          <a:p>
            <a:fld id="{44528447-A807-4F4B-BC13-7620042CD6A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16200000">
            <a:off x="7586920" y="4048760"/>
            <a:ext cx="2367281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7551361" y="1645920"/>
            <a:ext cx="243839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fld id="{56723505-1DC7-414B-9DC7-1061C646BD99}" type="datetimeFigureOut">
              <a:rPr lang="en-US" smtClean="0"/>
              <a:t>10/21/2019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4600" kern="1200" cap="none" spc="-100" baseline="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3429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2860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indent="-22860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2860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54480" indent="-228600" algn="l" defTabSz="914400" rtl="0" eaLnBrk="1" latinLnBrk="0" hangingPunct="1">
        <a:spcBef>
          <a:spcPct val="20000"/>
        </a:spcBef>
        <a:buClr>
          <a:schemeClr val="accent5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85000"/>
                  <a:lumOff val="1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  <a:lumOff val="1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2160590"/>
            <a:ext cx="6447501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3850" y="6041383"/>
            <a:ext cx="6839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B61BEF0D-F0BB-DE4B-95CE-6DB70DBA9567}" type="datetimeFigureOut">
              <a:rPr lang="en-US" dirty="0">
                <a:solidFill>
                  <a:prstClr val="white">
                    <a:tint val="75000"/>
                  </a:prstClr>
                </a:solidFill>
              </a:rPr>
              <a:pPr defTabSz="457200"/>
              <a:t>10/21/2019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8001" y="6041383"/>
            <a:ext cx="47232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2999" y="6041383"/>
            <a:ext cx="512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pPr defTabSz="457200"/>
            <a:fld id="{D57F1E4F-1CFF-5643-939E-217C01CDF565}" type="slidenum">
              <a:rPr lang="en-US" dirty="0">
                <a:solidFill>
                  <a:srgbClr val="90C226"/>
                </a:solidFill>
              </a:rPr>
              <a:pPr defTabSz="457200"/>
              <a:t>‹#›</a:t>
            </a:fld>
            <a:endParaRPr lang="en-US" dirty="0">
              <a:solidFill>
                <a:srgbClr val="90C226"/>
              </a:solidFill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758" r:id="rId1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85000"/>
                  <a:lumOff val="1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  <a:lumOff val="1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2160590"/>
            <a:ext cx="6447501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3850" y="6041383"/>
            <a:ext cx="6839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B61BEF0D-F0BB-DE4B-95CE-6DB70DBA9567}" type="datetimeFigureOut">
              <a:rPr lang="en-US" dirty="0">
                <a:solidFill>
                  <a:prstClr val="white">
                    <a:tint val="75000"/>
                  </a:prstClr>
                </a:solidFill>
              </a:rPr>
              <a:pPr defTabSz="457200"/>
              <a:t>10/21/2019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8001" y="6041383"/>
            <a:ext cx="47232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2999" y="6041383"/>
            <a:ext cx="512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pPr defTabSz="457200"/>
            <a:fld id="{D57F1E4F-1CFF-5643-939E-217C01CDF565}" type="slidenum">
              <a:rPr lang="en-US" dirty="0">
                <a:solidFill>
                  <a:srgbClr val="90C226"/>
                </a:solidFill>
              </a:rPr>
              <a:pPr defTabSz="457200"/>
              <a:t>‹#›</a:t>
            </a:fld>
            <a:endParaRPr lang="en-US" dirty="0">
              <a:solidFill>
                <a:srgbClr val="90C226"/>
              </a:solidFill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760" r:id="rId1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85000"/>
                  <a:lumOff val="1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  <a:lumOff val="1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2160590"/>
            <a:ext cx="6447501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3850" y="6041381"/>
            <a:ext cx="6839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B61BEF0D-F0BB-DE4B-95CE-6DB70DBA9567}" type="datetimeFigureOut">
              <a:rPr lang="en-US" dirty="0">
                <a:solidFill>
                  <a:prstClr val="white">
                    <a:tint val="75000"/>
                  </a:prstClr>
                </a:solidFill>
              </a:rPr>
              <a:pPr defTabSz="457200"/>
              <a:t>10/21/2019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8001" y="6041381"/>
            <a:ext cx="47232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2999" y="6041381"/>
            <a:ext cx="512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pPr defTabSz="457200"/>
            <a:fld id="{D57F1E4F-1CFF-5643-939E-217C01CDF565}" type="slidenum">
              <a:rPr lang="en-US" dirty="0">
                <a:solidFill>
                  <a:srgbClr val="90C226"/>
                </a:solidFill>
              </a:rPr>
              <a:pPr defTabSz="457200"/>
              <a:t>‹#›</a:t>
            </a:fld>
            <a:endParaRPr lang="en-US" dirty="0">
              <a:solidFill>
                <a:srgbClr val="90C226"/>
              </a:solidFill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762" r:id="rId1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85000"/>
                  <a:lumOff val="1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  <a:lumOff val="1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2160590"/>
            <a:ext cx="6447501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3850" y="6041377"/>
            <a:ext cx="6839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B61BEF0D-F0BB-DE4B-95CE-6DB70DBA9567}" type="datetimeFigureOut">
              <a:rPr lang="en-US" dirty="0">
                <a:solidFill>
                  <a:prstClr val="white">
                    <a:tint val="75000"/>
                  </a:prstClr>
                </a:solidFill>
              </a:rPr>
              <a:pPr defTabSz="457200"/>
              <a:t>10/21/2019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8001" y="6041377"/>
            <a:ext cx="47232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2999" y="6041377"/>
            <a:ext cx="512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pPr defTabSz="457200"/>
            <a:fld id="{D57F1E4F-1CFF-5643-939E-217C01CDF565}" type="slidenum">
              <a:rPr lang="en-US" dirty="0">
                <a:solidFill>
                  <a:srgbClr val="90C226"/>
                </a:solidFill>
              </a:rPr>
              <a:pPr defTabSz="457200"/>
              <a:t>‹#›</a:t>
            </a:fld>
            <a:endParaRPr lang="en-US" dirty="0">
              <a:solidFill>
                <a:srgbClr val="90C226"/>
              </a:solidFill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764" r:id="rId1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85000"/>
                  <a:lumOff val="1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  <a:lumOff val="1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2160590"/>
            <a:ext cx="6447501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3850" y="6041371"/>
            <a:ext cx="6839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B61BEF0D-F0BB-DE4B-95CE-6DB70DBA9567}" type="datetimeFigureOut">
              <a:rPr lang="en-US" dirty="0">
                <a:solidFill>
                  <a:prstClr val="white">
                    <a:tint val="75000"/>
                  </a:prstClr>
                </a:solidFill>
              </a:rPr>
              <a:pPr defTabSz="457200"/>
              <a:t>10/21/2019</a:t>
            </a:fld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8001" y="6041371"/>
            <a:ext cx="47232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2999" y="6041371"/>
            <a:ext cx="512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pPr defTabSz="457200"/>
            <a:fld id="{D57F1E4F-1CFF-5643-939E-217C01CDF565}" type="slidenum">
              <a:rPr lang="en-US" dirty="0">
                <a:solidFill>
                  <a:srgbClr val="90C226"/>
                </a:solidFill>
              </a:rPr>
              <a:pPr defTabSz="457200"/>
              <a:t>‹#›</a:t>
            </a:fld>
            <a:endParaRPr lang="en-US" dirty="0">
              <a:solidFill>
                <a:srgbClr val="90C226"/>
              </a:solidFill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766" r:id="rId1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D24B473-0C90-4F60-AC05-FE69D8018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DC45A2-93F7-40D8-A5B6-6013A86C71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5E2CEF-6289-4A0D-B6AE-52B07864D9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9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Lato" panose="020F0502020204030203" pitchFamily="34" charset="0"/>
              </a:defRPr>
            </a:lvl1pPr>
          </a:lstStyle>
          <a:p>
            <a:fld id="{6D7D2D8B-6E64-4137-8009-12D151E7215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09954F-87A5-4691-B506-40AEA6C677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97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Lato" panose="020F0502020204030203" pitchFamily="34" charset="0"/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6E3659-05D5-4638-8EAF-173D6BB460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9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Lato" panose="020F0502020204030203" pitchFamily="34" charset="0"/>
              </a:defRPr>
            </a:lvl1pPr>
          </a:lstStyle>
          <a:p>
            <a:fld id="{33AEE824-F468-4987-83BF-07B3A2782C4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914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Lato" panose="020F050202020403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27369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27369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27369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27369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27369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D24B473-0C90-4F60-AC05-FE69D8018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DC45A2-93F7-40D8-A5B6-6013A86C71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5E2CEF-6289-4A0D-B6AE-52B07864D9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9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Lato" panose="020F0502020204030203" pitchFamily="34" charset="0"/>
              </a:defRPr>
            </a:lvl1pPr>
          </a:lstStyle>
          <a:p>
            <a:fld id="{6D7D2D8B-6E64-4137-8009-12D151E7215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09954F-87A5-4691-B506-40AEA6C677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9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Lato" panose="020F0502020204030203" pitchFamily="34" charset="0"/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6E3659-05D5-4638-8EAF-173D6BB460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9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Lato" panose="020F0502020204030203" pitchFamily="34" charset="0"/>
              </a:defRPr>
            </a:lvl1pPr>
          </a:lstStyle>
          <a:p>
            <a:fld id="{33AEE824-F468-4987-83BF-07B3A2782C4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914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Lato" panose="020F050202020403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27369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27369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27369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27369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27369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D24B473-0C90-4F60-AC05-FE69D8018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DC45A2-93F7-40D8-A5B6-6013A86C71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5E2CEF-6289-4A0D-B6AE-52B07864D9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8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Lato" panose="020F0502020204030203" pitchFamily="34" charset="0"/>
              </a:defRPr>
            </a:lvl1pPr>
          </a:lstStyle>
          <a:p>
            <a:fld id="{6D7D2D8B-6E64-4137-8009-12D151E7215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09954F-87A5-4691-B506-40AEA6C677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87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Lato" panose="020F0502020204030203" pitchFamily="34" charset="0"/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6E3659-05D5-4638-8EAF-173D6BB460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8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Lato" panose="020F0502020204030203" pitchFamily="34" charset="0"/>
              </a:defRPr>
            </a:lvl1pPr>
          </a:lstStyle>
          <a:p>
            <a:fld id="{33AEE824-F468-4987-83BF-07B3A2782C4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914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Lato" panose="020F050202020403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27369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27369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27369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27369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27369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D24B473-0C90-4F60-AC05-FE69D8018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DC45A2-93F7-40D8-A5B6-6013A86C71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5E2CEF-6289-4A0D-B6AE-52B07864D9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7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Lato" panose="020F0502020204030203" pitchFamily="34" charset="0"/>
              </a:defRPr>
            </a:lvl1pPr>
          </a:lstStyle>
          <a:p>
            <a:fld id="{6D7D2D8B-6E64-4137-8009-12D151E7215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09954F-87A5-4691-B506-40AEA6C677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79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Lato" panose="020F0502020204030203" pitchFamily="34" charset="0"/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6E3659-05D5-4638-8EAF-173D6BB460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7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Lato" panose="020F0502020204030203" pitchFamily="34" charset="0"/>
              </a:defRPr>
            </a:lvl1pPr>
          </a:lstStyle>
          <a:p>
            <a:fld id="{33AEE824-F468-4987-83BF-07B3A2782C4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914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Lato" panose="020F050202020403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27369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27369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27369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27369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27369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" panose="020F050202020403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95400" y="381000"/>
            <a:ext cx="73152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CA" altLang="en-US"/>
              <a:t>Titre de la page</a:t>
            </a:r>
            <a:endParaRPr lang="en-US" altLang="en-US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95400" y="1905000"/>
            <a:ext cx="7315200" cy="327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CA" altLang="en-US"/>
              <a:t>Click to edit Master text styles</a:t>
            </a:r>
          </a:p>
          <a:p>
            <a:pPr lvl="1"/>
            <a:r>
              <a:rPr lang="fr-CA" altLang="en-US"/>
              <a:t>Second level</a:t>
            </a:r>
          </a:p>
          <a:p>
            <a:pPr lvl="2"/>
            <a:r>
              <a:rPr lang="fr-CA" altLang="en-US"/>
              <a:t>Third level</a:t>
            </a:r>
          </a:p>
          <a:p>
            <a:pPr lvl="3"/>
            <a:r>
              <a:rPr lang="fr-CA" altLang="en-US"/>
              <a:t>Fourth level</a:t>
            </a:r>
          </a:p>
          <a:p>
            <a:pPr lvl="4"/>
            <a:r>
              <a:rPr lang="fr-CA" altLang="en-US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</p:sldLayoutIdLst>
  <p:transition spd="med">
    <p:fade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 Bold" pitchFamily="1" charset="0"/>
          <a:ea typeface="ＭＳ Ｐゴシック" pitchFamily="1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 Bold" pitchFamily="1" charset="0"/>
          <a:ea typeface="ＭＳ Ｐゴシック" pitchFamily="1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 Bold" pitchFamily="1" charset="0"/>
          <a:ea typeface="ＭＳ Ｐゴシック" pitchFamily="1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 Bold" pitchFamily="1" charset="0"/>
          <a:ea typeface="ＭＳ Ｐゴシック" pitchFamily="1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Bold" pitchFamily="1" charset="0"/>
          <a:ea typeface="ＭＳ Ｐゴシック" pitchFamily="1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Bold" pitchFamily="1" charset="0"/>
          <a:ea typeface="ＭＳ Ｐゴシック" pitchFamily="1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Bold" pitchFamily="1" charset="0"/>
          <a:ea typeface="ＭＳ Ｐゴシック" pitchFamily="1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Bold" pitchFamily="1" charset="0"/>
          <a:ea typeface="ＭＳ Ｐゴシック" pitchFamily="1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Tahoma" pitchFamily="34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Tahoma" pitchFamily="34" charset="0"/>
        <a:buChar char="•"/>
        <a:defRPr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Tahoma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Tahoma" pitchFamily="34" charset="0"/>
        <a:buChar char="•"/>
        <a:defRPr sz="14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Tahoma" pitchFamily="34" charset="0"/>
        <a:buChar char="•"/>
        <a:defRPr sz="14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Tahoma" pitchFamily="1" charset="0"/>
        <a:buChar char="•"/>
        <a:defRPr sz="14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Tahoma" pitchFamily="1" charset="0"/>
        <a:buChar char="•"/>
        <a:defRPr sz="14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Tahoma" pitchFamily="1" charset="0"/>
        <a:buChar char="•"/>
        <a:defRPr sz="14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Tahoma" pitchFamily="1" charset="0"/>
        <a:buChar char="•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af-Z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03F85B-E8B5-4A07-8DC5-4A755BCC7A5A}" type="datetimeFigureOut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7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A3D86E-4F55-473C-9FE9-5B94F8B107B9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2" descr="Public Health PPT banner2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73216"/>
            <a:ext cx="9144000" cy="1484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98245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3.jpg"/><Relationship Id="rId4" Type="http://schemas.openxmlformats.org/officeDocument/2006/relationships/image" Target="../media/image32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8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jpg"/><Relationship Id="rId5" Type="http://schemas.openxmlformats.org/officeDocument/2006/relationships/image" Target="../media/image26.png"/><Relationship Id="rId4" Type="http://schemas.openxmlformats.org/officeDocument/2006/relationships/image" Target="../media/image36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8.emf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1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hyperlink" Target="https://www.bing.com/images/search?view=detailV2&amp;ccid=crbsZURK&amp;id=62D3C23D55B8707DD1FF7A926A424BA3A94DFDAA&amp;thid=OIP.crbsZURKFXIab5S1mst_LQHaGu&amp;mediaurl=http://cliparts.co/cliparts/nrT/Lqj/nrTLqjji8.png&amp;exph=726&amp;expw=800&amp;q=multicultural+clipart&amp;simid=607990398061511461&amp;selectedIndex=1" TargetMode="Externa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7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2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2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2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2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6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g"/><Relationship Id="rId1" Type="http://schemas.openxmlformats.org/officeDocument/2006/relationships/slideLayout" Target="../slideLayouts/slideLayout69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0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1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jpg"/><Relationship Id="rId1" Type="http://schemas.openxmlformats.org/officeDocument/2006/relationships/slideLayout" Target="../slideLayouts/slideLayout7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jpg"/><Relationship Id="rId1" Type="http://schemas.openxmlformats.org/officeDocument/2006/relationships/slideLayout" Target="../slideLayouts/slideLayout29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jpg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jp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30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30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102.jpg"/><Relationship Id="rId1" Type="http://schemas.openxmlformats.org/officeDocument/2006/relationships/slideLayout" Target="../slideLayouts/slideLayout30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1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104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05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hyperlink" Target="http://www.nbhc.ca/community-profiles" TargetMode="External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32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hyperlink" Target="http://www.nbhc.ca/" TargetMode="External"/><Relationship Id="rId3" Type="http://schemas.openxmlformats.org/officeDocument/2006/relationships/slideLayout" Target="../slideLayouts/slideLayout33.xml"/><Relationship Id="rId7" Type="http://schemas.openxmlformats.org/officeDocument/2006/relationships/hyperlink" Target="http://www.csnb.ca/" TargetMode="Externa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hyperlink" Target="mailto:Michelina.mancuso@nbhc.ca" TargetMode="External"/><Relationship Id="rId5" Type="http://schemas.openxmlformats.org/officeDocument/2006/relationships/hyperlink" Target="mailto:Michelina.Mancuso@csnb.ca" TargetMode="External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106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108.jpe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113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7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1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gional Addictions and Mental Health Prevention Coordinator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anya Wilson</a:t>
            </a:r>
          </a:p>
        </p:txBody>
      </p:sp>
    </p:spTree>
    <p:extLst>
      <p:ext uri="{BB962C8B-B14F-4D97-AF65-F5344CB8AC3E}">
        <p14:creationId xmlns:p14="http://schemas.microsoft.com/office/powerpoint/2010/main" val="2389859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A63F14A-4509-49A2-A90D-D418131691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2" r="1282"/>
          <a:stretch/>
        </p:blipFill>
        <p:spPr>
          <a:xfrm>
            <a:off x="2845370" y="1415508"/>
            <a:ext cx="3470735" cy="3470736"/>
          </a:xfrm>
          <a:custGeom>
            <a:avLst/>
            <a:gdLst>
              <a:gd name="connsiteX0" fmla="*/ 2313823 w 4627646"/>
              <a:gd name="connsiteY0" fmla="*/ 0 h 4627648"/>
              <a:gd name="connsiteX1" fmla="*/ 4627646 w 4627646"/>
              <a:gd name="connsiteY1" fmla="*/ 2313824 h 4627648"/>
              <a:gd name="connsiteX2" fmla="*/ 2313823 w 4627646"/>
              <a:gd name="connsiteY2" fmla="*/ 4627648 h 4627648"/>
              <a:gd name="connsiteX3" fmla="*/ 0 w 4627646"/>
              <a:gd name="connsiteY3" fmla="*/ 2313824 h 4627648"/>
              <a:gd name="connsiteX4" fmla="*/ 2313823 w 4627646"/>
              <a:gd name="connsiteY4" fmla="*/ 0 h 4627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27646" h="4627648">
                <a:moveTo>
                  <a:pt x="2313823" y="0"/>
                </a:moveTo>
                <a:cubicBezTo>
                  <a:pt x="3591712" y="0"/>
                  <a:pt x="4627646" y="1035934"/>
                  <a:pt x="4627646" y="2313824"/>
                </a:cubicBezTo>
                <a:cubicBezTo>
                  <a:pt x="4627646" y="3591714"/>
                  <a:pt x="3591712" y="4627648"/>
                  <a:pt x="2313823" y="4627648"/>
                </a:cubicBezTo>
                <a:cubicBezTo>
                  <a:pt x="1035934" y="4627648"/>
                  <a:pt x="0" y="3591714"/>
                  <a:pt x="0" y="2313824"/>
                </a:cubicBezTo>
                <a:cubicBezTo>
                  <a:pt x="0" y="1035934"/>
                  <a:pt x="1035934" y="0"/>
                  <a:pt x="2313823" y="0"/>
                </a:cubicBezTo>
                <a:close/>
              </a:path>
            </a:pathLst>
          </a:cu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BB12733-5AB2-466B-A00F-EF8B1C72775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23" r="29743" b="1"/>
          <a:stretch/>
        </p:blipFill>
        <p:spPr>
          <a:xfrm>
            <a:off x="159000" y="1415527"/>
            <a:ext cx="3078643" cy="3478181"/>
          </a:xfrm>
          <a:custGeom>
            <a:avLst/>
            <a:gdLst>
              <a:gd name="connsiteX0" fmla="*/ 1463478 w 2590737"/>
              <a:gd name="connsiteY0" fmla="*/ 0 h 2926956"/>
              <a:gd name="connsiteX1" fmla="*/ 2498313 w 2590737"/>
              <a:gd name="connsiteY1" fmla="*/ 428643 h 2926956"/>
              <a:gd name="connsiteX2" fmla="*/ 2501029 w 2590737"/>
              <a:gd name="connsiteY2" fmla="*/ 431631 h 2926956"/>
              <a:gd name="connsiteX3" fmla="*/ 2445696 w 2590737"/>
              <a:gd name="connsiteY3" fmla="*/ 582811 h 2926956"/>
              <a:gd name="connsiteX4" fmla="*/ 2335437 w 2590737"/>
              <a:gd name="connsiteY4" fmla="*/ 1312109 h 2926956"/>
              <a:gd name="connsiteX5" fmla="*/ 2528166 w 2590737"/>
              <a:gd name="connsiteY5" fmla="*/ 2266732 h 2926956"/>
              <a:gd name="connsiteX6" fmla="*/ 2590737 w 2590737"/>
              <a:gd name="connsiteY6" fmla="*/ 2396622 h 2926956"/>
              <a:gd name="connsiteX7" fmla="*/ 2498313 w 2590737"/>
              <a:gd name="connsiteY7" fmla="*/ 2498313 h 2926956"/>
              <a:gd name="connsiteX8" fmla="*/ 1463478 w 2590737"/>
              <a:gd name="connsiteY8" fmla="*/ 2926956 h 2926956"/>
              <a:gd name="connsiteX9" fmla="*/ 0 w 2590737"/>
              <a:gd name="connsiteY9" fmla="*/ 1463478 h 2926956"/>
              <a:gd name="connsiteX10" fmla="*/ 1463478 w 2590737"/>
              <a:gd name="connsiteY10" fmla="*/ 0 h 2926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90737" h="2926956">
                <a:moveTo>
                  <a:pt x="1463478" y="0"/>
                </a:moveTo>
                <a:cubicBezTo>
                  <a:pt x="1867606" y="0"/>
                  <a:pt x="2233476" y="163805"/>
                  <a:pt x="2498313" y="428643"/>
                </a:cubicBezTo>
                <a:lnTo>
                  <a:pt x="2501029" y="431631"/>
                </a:lnTo>
                <a:lnTo>
                  <a:pt x="2445696" y="582811"/>
                </a:lnTo>
                <a:cubicBezTo>
                  <a:pt x="2374039" y="813196"/>
                  <a:pt x="2335437" y="1058145"/>
                  <a:pt x="2335437" y="1312109"/>
                </a:cubicBezTo>
                <a:cubicBezTo>
                  <a:pt x="2335437" y="1650728"/>
                  <a:pt x="2404063" y="1973319"/>
                  <a:pt x="2528166" y="2266732"/>
                </a:cubicBezTo>
                <a:lnTo>
                  <a:pt x="2590737" y="2396622"/>
                </a:lnTo>
                <a:lnTo>
                  <a:pt x="2498313" y="2498313"/>
                </a:lnTo>
                <a:cubicBezTo>
                  <a:pt x="2233476" y="2763151"/>
                  <a:pt x="1867606" y="2926956"/>
                  <a:pt x="1463478" y="2926956"/>
                </a:cubicBezTo>
                <a:cubicBezTo>
                  <a:pt x="655221" y="2926956"/>
                  <a:pt x="0" y="2271735"/>
                  <a:pt x="0" y="1463478"/>
                </a:cubicBezTo>
                <a:cubicBezTo>
                  <a:pt x="0" y="655221"/>
                  <a:pt x="655221" y="0"/>
                  <a:pt x="1463478" y="0"/>
                </a:cubicBezTo>
                <a:close/>
              </a:path>
            </a:pathLst>
          </a:cu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97F787C-FE68-461A-A53D-9F9A2FA13CB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56" r="15308" b="-2"/>
          <a:stretch/>
        </p:blipFill>
        <p:spPr>
          <a:xfrm>
            <a:off x="5930602" y="1632718"/>
            <a:ext cx="2832407" cy="3216012"/>
          </a:xfrm>
          <a:custGeom>
            <a:avLst/>
            <a:gdLst>
              <a:gd name="connsiteX0" fmla="*/ 1114351 w 2577829"/>
              <a:gd name="connsiteY0" fmla="*/ 0 h 2926956"/>
              <a:gd name="connsiteX1" fmla="*/ 2577829 w 2577829"/>
              <a:gd name="connsiteY1" fmla="*/ 1463478 h 2926956"/>
              <a:gd name="connsiteX2" fmla="*/ 1114351 w 2577829"/>
              <a:gd name="connsiteY2" fmla="*/ 2926956 h 2926956"/>
              <a:gd name="connsiteX3" fmla="*/ 79516 w 2577829"/>
              <a:gd name="connsiteY3" fmla="*/ 2498313 h 2926956"/>
              <a:gd name="connsiteX4" fmla="*/ 0 w 2577829"/>
              <a:gd name="connsiteY4" fmla="*/ 2410824 h 2926956"/>
              <a:gd name="connsiteX5" fmla="*/ 69413 w 2577829"/>
              <a:gd name="connsiteY5" fmla="*/ 2266732 h 2926956"/>
              <a:gd name="connsiteX6" fmla="*/ 262142 w 2577829"/>
              <a:gd name="connsiteY6" fmla="*/ 1312109 h 2926956"/>
              <a:gd name="connsiteX7" fmla="*/ 151883 w 2577829"/>
              <a:gd name="connsiteY7" fmla="*/ 582811 h 2926956"/>
              <a:gd name="connsiteX8" fmla="*/ 91478 w 2577829"/>
              <a:gd name="connsiteY8" fmla="*/ 417771 h 2926956"/>
              <a:gd name="connsiteX9" fmla="*/ 183443 w 2577829"/>
              <a:gd name="connsiteY9" fmla="*/ 334187 h 2926956"/>
              <a:gd name="connsiteX10" fmla="*/ 1114351 w 2577829"/>
              <a:gd name="connsiteY10" fmla="*/ 0 h 2926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77829" h="2926956">
                <a:moveTo>
                  <a:pt x="1114351" y="0"/>
                </a:moveTo>
                <a:cubicBezTo>
                  <a:pt x="1922608" y="0"/>
                  <a:pt x="2577829" y="655221"/>
                  <a:pt x="2577829" y="1463478"/>
                </a:cubicBezTo>
                <a:cubicBezTo>
                  <a:pt x="2577829" y="2271735"/>
                  <a:pt x="1922608" y="2926956"/>
                  <a:pt x="1114351" y="2926956"/>
                </a:cubicBezTo>
                <a:cubicBezTo>
                  <a:pt x="710223" y="2926956"/>
                  <a:pt x="344353" y="2763151"/>
                  <a:pt x="79516" y="2498313"/>
                </a:cubicBezTo>
                <a:lnTo>
                  <a:pt x="0" y="2410824"/>
                </a:lnTo>
                <a:lnTo>
                  <a:pt x="69413" y="2266732"/>
                </a:lnTo>
                <a:cubicBezTo>
                  <a:pt x="193516" y="1973319"/>
                  <a:pt x="262142" y="1650728"/>
                  <a:pt x="262142" y="1312109"/>
                </a:cubicBezTo>
                <a:cubicBezTo>
                  <a:pt x="262142" y="1058145"/>
                  <a:pt x="223540" y="813196"/>
                  <a:pt x="151883" y="582811"/>
                </a:cubicBezTo>
                <a:lnTo>
                  <a:pt x="91478" y="417771"/>
                </a:lnTo>
                <a:lnTo>
                  <a:pt x="183443" y="334187"/>
                </a:lnTo>
                <a:cubicBezTo>
                  <a:pt x="436418" y="125413"/>
                  <a:pt x="760739" y="0"/>
                  <a:pt x="1114351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631767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FDAC42E-BF0D-4839-97E1-4C20C17CF9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4243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96CC9E6-DB9B-4919-B53A-A9A44906054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45" r="5185"/>
          <a:stretch/>
        </p:blipFill>
        <p:spPr>
          <a:xfrm>
            <a:off x="482602" y="643467"/>
            <a:ext cx="8178800" cy="557106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1635E03-D54F-455F-A5AF-685FFBF3B5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57759" y="480060"/>
            <a:ext cx="8428482" cy="5897880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1434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Freeform: Shape 99">
            <a:extLst>
              <a:ext uri="{FF2B5EF4-FFF2-40B4-BE49-F238E27FC236}">
                <a16:creationId xmlns:a16="http://schemas.microsoft.com/office/drawing/2014/main" id="{EA518CE4-E4D4-4D8A-980F-6D692AC969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8237" y="0"/>
            <a:ext cx="4210162" cy="3957065"/>
          </a:xfrm>
          <a:custGeom>
            <a:avLst/>
            <a:gdLst>
              <a:gd name="connsiteX0" fmla="*/ 0 w 5155454"/>
              <a:gd name="connsiteY0" fmla="*/ 0 h 4845530"/>
              <a:gd name="connsiteX1" fmla="*/ 4766270 w 5155454"/>
              <a:gd name="connsiteY1" fmla="*/ 0 h 4845530"/>
              <a:gd name="connsiteX2" fmla="*/ 4896671 w 5155454"/>
              <a:gd name="connsiteY2" fmla="*/ 270697 h 4845530"/>
              <a:gd name="connsiteX3" fmla="*/ 5155454 w 5155454"/>
              <a:gd name="connsiteY3" fmla="*/ 1552495 h 4845530"/>
              <a:gd name="connsiteX4" fmla="*/ 1862419 w 5155454"/>
              <a:gd name="connsiteY4" fmla="*/ 4845530 h 4845530"/>
              <a:gd name="connsiteX5" fmla="*/ 21252 w 5155454"/>
              <a:gd name="connsiteY5" fmla="*/ 4283132 h 4845530"/>
              <a:gd name="connsiteX6" fmla="*/ 0 w 5155454"/>
              <a:gd name="connsiteY6" fmla="*/ 4267240 h 4845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55454" h="4845530">
                <a:moveTo>
                  <a:pt x="0" y="0"/>
                </a:moveTo>
                <a:lnTo>
                  <a:pt x="4766270" y="0"/>
                </a:lnTo>
                <a:lnTo>
                  <a:pt x="4896671" y="270697"/>
                </a:lnTo>
                <a:cubicBezTo>
                  <a:pt x="5063308" y="664671"/>
                  <a:pt x="5155454" y="1097822"/>
                  <a:pt x="5155454" y="1552495"/>
                </a:cubicBezTo>
                <a:cubicBezTo>
                  <a:pt x="5155454" y="3371188"/>
                  <a:pt x="3681112" y="4845530"/>
                  <a:pt x="1862419" y="4845530"/>
                </a:cubicBezTo>
                <a:cubicBezTo>
                  <a:pt x="1180409" y="4845530"/>
                  <a:pt x="546824" y="4638201"/>
                  <a:pt x="21252" y="4283132"/>
                </a:cubicBezTo>
                <a:lnTo>
                  <a:pt x="0" y="426724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 useBgFill="1">
        <p:nvSpPr>
          <p:cNvPr id="102" name="Freeform: Shape 101">
            <a:extLst>
              <a:ext uri="{FF2B5EF4-FFF2-40B4-BE49-F238E27FC236}">
                <a16:creationId xmlns:a16="http://schemas.microsoft.com/office/drawing/2014/main" id="{5E6FAE32-AB12-4E77-A677-F6BD5D71AD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8237" y="1"/>
            <a:ext cx="4097175" cy="3853446"/>
          </a:xfrm>
          <a:custGeom>
            <a:avLst/>
            <a:gdLst>
              <a:gd name="connsiteX0" fmla="*/ 0 w 5017099"/>
              <a:gd name="connsiteY0" fmla="*/ 0 h 4718647"/>
              <a:gd name="connsiteX1" fmla="*/ 4599738 w 5017099"/>
              <a:gd name="connsiteY1" fmla="*/ 0 h 4718647"/>
              <a:gd name="connsiteX2" fmla="*/ 4636346 w 5017099"/>
              <a:gd name="connsiteY2" fmla="*/ 60259 h 4718647"/>
              <a:gd name="connsiteX3" fmla="*/ 5017099 w 5017099"/>
              <a:gd name="connsiteY3" fmla="*/ 1563967 h 4718647"/>
              <a:gd name="connsiteX4" fmla="*/ 1862419 w 5017099"/>
              <a:gd name="connsiteY4" fmla="*/ 4718647 h 4718647"/>
              <a:gd name="connsiteX5" fmla="*/ 98607 w 5017099"/>
              <a:gd name="connsiteY5" fmla="*/ 4179877 h 4718647"/>
              <a:gd name="connsiteX6" fmla="*/ 0 w 5017099"/>
              <a:gd name="connsiteY6" fmla="*/ 4106140 h 4718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17099" h="4718647">
                <a:moveTo>
                  <a:pt x="0" y="0"/>
                </a:moveTo>
                <a:lnTo>
                  <a:pt x="4599738" y="0"/>
                </a:lnTo>
                <a:lnTo>
                  <a:pt x="4636346" y="60259"/>
                </a:lnTo>
                <a:cubicBezTo>
                  <a:pt x="4879170" y="507256"/>
                  <a:pt x="5017099" y="1019504"/>
                  <a:pt x="5017099" y="1563967"/>
                </a:cubicBezTo>
                <a:cubicBezTo>
                  <a:pt x="5017099" y="3306249"/>
                  <a:pt x="3604701" y="4718647"/>
                  <a:pt x="1862419" y="4718647"/>
                </a:cubicBezTo>
                <a:cubicBezTo>
                  <a:pt x="1209063" y="4718647"/>
                  <a:pt x="602098" y="4520029"/>
                  <a:pt x="98607" y="4179877"/>
                </a:cubicBezTo>
                <a:lnTo>
                  <a:pt x="0" y="410614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104" name="Freeform: Shape 103">
            <a:extLst>
              <a:ext uri="{FF2B5EF4-FFF2-40B4-BE49-F238E27FC236}">
                <a16:creationId xmlns:a16="http://schemas.microsoft.com/office/drawing/2014/main" id="{F82BF3E2-EB0E-40D6-8835-2367A5316C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26725" y="2900955"/>
            <a:ext cx="4517274" cy="3957065"/>
          </a:xfrm>
          <a:custGeom>
            <a:avLst/>
            <a:gdLst>
              <a:gd name="connsiteX0" fmla="*/ 3600823 w 6043520"/>
              <a:gd name="connsiteY0" fmla="*/ 0 h 5294033"/>
              <a:gd name="connsiteX1" fmla="*/ 5891281 w 6043520"/>
              <a:gd name="connsiteY1" fmla="*/ 822253 h 5294033"/>
              <a:gd name="connsiteX2" fmla="*/ 6043520 w 6043520"/>
              <a:gd name="connsiteY2" fmla="*/ 960617 h 5294033"/>
              <a:gd name="connsiteX3" fmla="*/ 6043520 w 6043520"/>
              <a:gd name="connsiteY3" fmla="*/ 5294033 h 5294033"/>
              <a:gd name="connsiteX4" fmla="*/ 423445 w 6043520"/>
              <a:gd name="connsiteY4" fmla="*/ 5294033 h 5294033"/>
              <a:gd name="connsiteX5" fmla="*/ 282971 w 6043520"/>
              <a:gd name="connsiteY5" fmla="*/ 5002426 h 5294033"/>
              <a:gd name="connsiteX6" fmla="*/ 0 w 6043520"/>
              <a:gd name="connsiteY6" fmla="*/ 3600823 h 5294033"/>
              <a:gd name="connsiteX7" fmla="*/ 3600823 w 6043520"/>
              <a:gd name="connsiteY7" fmla="*/ 0 h 5294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43520" h="5294033">
                <a:moveTo>
                  <a:pt x="3600823" y="0"/>
                </a:moveTo>
                <a:cubicBezTo>
                  <a:pt x="4470871" y="0"/>
                  <a:pt x="5268847" y="308574"/>
                  <a:pt x="5891281" y="822253"/>
                </a:cubicBezTo>
                <a:lnTo>
                  <a:pt x="6043520" y="960617"/>
                </a:lnTo>
                <a:lnTo>
                  <a:pt x="6043520" y="5294033"/>
                </a:lnTo>
                <a:lnTo>
                  <a:pt x="423445" y="5294033"/>
                </a:lnTo>
                <a:lnTo>
                  <a:pt x="282971" y="5002426"/>
                </a:lnTo>
                <a:cubicBezTo>
                  <a:pt x="100759" y="4571630"/>
                  <a:pt x="0" y="4097993"/>
                  <a:pt x="0" y="3600823"/>
                </a:cubicBezTo>
                <a:cubicBezTo>
                  <a:pt x="0" y="1612143"/>
                  <a:pt x="1612143" y="0"/>
                  <a:pt x="3600823" y="0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 useBgFill="1">
        <p:nvSpPr>
          <p:cNvPr id="106" name="Freeform: Shape 105">
            <a:extLst>
              <a:ext uri="{FF2B5EF4-FFF2-40B4-BE49-F238E27FC236}">
                <a16:creationId xmlns:a16="http://schemas.microsoft.com/office/drawing/2014/main" id="{CB6FFAAC-8A48-4FBF-BAFE-BAD3676940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27819" y="3002025"/>
            <a:ext cx="4416183" cy="3855974"/>
          </a:xfrm>
          <a:custGeom>
            <a:avLst/>
            <a:gdLst>
              <a:gd name="connsiteX0" fmla="*/ 3465576 w 5908273"/>
              <a:gd name="connsiteY0" fmla="*/ 0 h 5158786"/>
              <a:gd name="connsiteX1" fmla="*/ 5670004 w 5908273"/>
              <a:gd name="connsiteY1" fmla="*/ 791369 h 5158786"/>
              <a:gd name="connsiteX2" fmla="*/ 5908273 w 5908273"/>
              <a:gd name="connsiteY2" fmla="*/ 1007923 h 5158786"/>
              <a:gd name="connsiteX3" fmla="*/ 5908273 w 5908273"/>
              <a:gd name="connsiteY3" fmla="*/ 5158786 h 5158786"/>
              <a:gd name="connsiteX4" fmla="*/ 443374 w 5908273"/>
              <a:gd name="connsiteY4" fmla="*/ 5158786 h 5158786"/>
              <a:gd name="connsiteX5" fmla="*/ 418277 w 5908273"/>
              <a:gd name="connsiteY5" fmla="*/ 5117476 h 5158786"/>
              <a:gd name="connsiteX6" fmla="*/ 0 w 5908273"/>
              <a:gd name="connsiteY6" fmla="*/ 3465576 h 5158786"/>
              <a:gd name="connsiteX7" fmla="*/ 3465576 w 5908273"/>
              <a:gd name="connsiteY7" fmla="*/ 0 h 5158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08273" h="5158786">
                <a:moveTo>
                  <a:pt x="3465576" y="0"/>
                </a:moveTo>
                <a:cubicBezTo>
                  <a:pt x="4302945" y="0"/>
                  <a:pt x="5070948" y="296984"/>
                  <a:pt x="5670004" y="791369"/>
                </a:cubicBezTo>
                <a:lnTo>
                  <a:pt x="5908273" y="1007923"/>
                </a:lnTo>
                <a:lnTo>
                  <a:pt x="5908273" y="5158786"/>
                </a:lnTo>
                <a:lnTo>
                  <a:pt x="443374" y="5158786"/>
                </a:lnTo>
                <a:lnTo>
                  <a:pt x="418277" y="5117476"/>
                </a:lnTo>
                <a:cubicBezTo>
                  <a:pt x="151523" y="4626427"/>
                  <a:pt x="0" y="4063697"/>
                  <a:pt x="0" y="3465576"/>
                </a:cubicBezTo>
                <a:cubicBezTo>
                  <a:pt x="0" y="1551591"/>
                  <a:pt x="1551591" y="0"/>
                  <a:pt x="3465576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481E86DD-89E6-42B2-8675-84B7C56BFF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511586" y="2247666"/>
            <a:ext cx="3429000" cy="3429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 useBgFill="1">
        <p:nvSpPr>
          <p:cNvPr id="110" name="Freeform: Shape 109">
            <a:extLst>
              <a:ext uri="{FF2B5EF4-FFF2-40B4-BE49-F238E27FC236}">
                <a16:creationId xmlns:a16="http://schemas.microsoft.com/office/drawing/2014/main" id="{440EF577-B6F8-4C57-B956-AB860B388E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614456" y="2350536"/>
            <a:ext cx="3223260" cy="3223260"/>
          </a:xfrm>
          <a:custGeom>
            <a:avLst/>
            <a:gdLst>
              <a:gd name="connsiteX0" fmla="*/ 2148840 w 4297680"/>
              <a:gd name="connsiteY0" fmla="*/ 0 h 4297680"/>
              <a:gd name="connsiteX1" fmla="*/ 4297680 w 4297680"/>
              <a:gd name="connsiteY1" fmla="*/ 2148840 h 4297680"/>
              <a:gd name="connsiteX2" fmla="*/ 2148840 w 4297680"/>
              <a:gd name="connsiteY2" fmla="*/ 4297680 h 4297680"/>
              <a:gd name="connsiteX3" fmla="*/ 0 w 4297680"/>
              <a:gd name="connsiteY3" fmla="*/ 2148840 h 4297680"/>
              <a:gd name="connsiteX4" fmla="*/ 2148840 w 4297680"/>
              <a:gd name="connsiteY4" fmla="*/ 0 h 4297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97680" h="4297680">
                <a:moveTo>
                  <a:pt x="2148840" y="0"/>
                </a:moveTo>
                <a:cubicBezTo>
                  <a:pt x="3335612" y="0"/>
                  <a:pt x="4297680" y="962068"/>
                  <a:pt x="4297680" y="2148840"/>
                </a:cubicBezTo>
                <a:cubicBezTo>
                  <a:pt x="4297680" y="3335612"/>
                  <a:pt x="3335612" y="4297680"/>
                  <a:pt x="2148840" y="4297680"/>
                </a:cubicBezTo>
                <a:cubicBezTo>
                  <a:pt x="962068" y="4297680"/>
                  <a:pt x="0" y="3335612"/>
                  <a:pt x="0" y="2148840"/>
                </a:cubicBezTo>
                <a:cubicBezTo>
                  <a:pt x="0" y="962068"/>
                  <a:pt x="962068" y="0"/>
                  <a:pt x="214884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06532AE-3F05-4467-8F75-1AF9FE9FA82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08" r="14857" b="1"/>
          <a:stretch/>
        </p:blipFill>
        <p:spPr>
          <a:xfrm>
            <a:off x="3170089" y="2862969"/>
            <a:ext cx="1919132" cy="208382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4674373-1A87-4379-931F-F665688101C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9267" y="693447"/>
            <a:ext cx="3680076" cy="122362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D9EFE34-1AB3-4294-9DFF-D4ADFE44577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843" y="5102513"/>
            <a:ext cx="2501667" cy="114830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162B634-CE0A-4CAA-9653-96C0E38768A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68" r="17090" b="13447"/>
          <a:stretch/>
        </p:blipFill>
        <p:spPr>
          <a:xfrm>
            <a:off x="331415" y="185111"/>
            <a:ext cx="2564195" cy="255809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6DA77AF-C6ED-49F0-874E-3B50532720A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7716" y="4716194"/>
            <a:ext cx="3318642" cy="2179772"/>
          </a:xfrm>
          <a:prstGeom prst="rect">
            <a:avLst/>
          </a:prstGeom>
        </p:spPr>
      </p:pic>
      <p:sp>
        <p:nvSpPr>
          <p:cNvPr id="2" name="AutoShape 2" descr="Image result for priorities">
            <a:extLst>
              <a:ext uri="{FF2B5EF4-FFF2-40B4-BE49-F238E27FC236}">
                <a16:creationId xmlns:a16="http://schemas.microsoft.com/office/drawing/2014/main" id="{8AEDE6CA-F0C7-4237-93E8-2297595507E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614738" y="2581275"/>
            <a:ext cx="1914525" cy="169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28530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CA" sz="4400" dirty="0"/>
              <a:t>Horizon’s ‘Boots on the Ground’</a:t>
            </a:r>
            <a:br>
              <a:rPr lang="en-CA" sz="4400" dirty="0"/>
            </a:br>
            <a:br>
              <a:rPr lang="en-CA" sz="3600" dirty="0"/>
            </a:br>
            <a:r>
              <a:rPr lang="en-CA" sz="2000" dirty="0"/>
              <a:t>Scott Crawford - Regional Manager</a:t>
            </a:r>
            <a:endParaRPr lang="en-CA" sz="3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3530" y="2564906"/>
            <a:ext cx="8496944" cy="1841997"/>
          </a:xfrm>
        </p:spPr>
        <p:txBody>
          <a:bodyPr>
            <a:normAutofit/>
          </a:bodyPr>
          <a:lstStyle/>
          <a:p>
            <a:pPr algn="ctr"/>
            <a:r>
              <a:rPr lang="en-CA" sz="6000" dirty="0"/>
              <a:t>Community Development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3855" y="764704"/>
            <a:ext cx="5962650" cy="1981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78272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-505347"/>
            <a:ext cx="9370293" cy="736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251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28513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0476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"/>
            <a:ext cx="9144000" cy="6857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325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C:\Users\crasco\Desktop\Picture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706" y="42195"/>
            <a:ext cx="54005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4412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3280" y="0"/>
            <a:ext cx="916272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821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algn="l"/>
            <a:r>
              <a:rPr lang="fr-CA" dirty="0">
                <a:solidFill>
                  <a:schemeClr val="bg1"/>
                </a:solidFill>
              </a:rPr>
              <a:t>Primary Care Access Coordinators in Vitalité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338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1" y="609600"/>
            <a:ext cx="7859216" cy="5688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15939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800" y="133350"/>
            <a:ext cx="5105400" cy="6115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1" y="304800"/>
            <a:ext cx="8396288" cy="55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8600" y="0"/>
            <a:ext cx="93726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304800"/>
            <a:ext cx="8458200" cy="548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225425"/>
            <a:ext cx="6172200" cy="607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4">
            <a:extLst>
              <a:ext uri="{FF2B5EF4-FFF2-40B4-BE49-F238E27FC236}">
                <a16:creationId xmlns:a16="http://schemas.microsoft.com/office/drawing/2014/main" id="{3C3B59E9-7A2B-47D9-88CA-20E05E3FE6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8829" y="200416"/>
            <a:ext cx="4259434" cy="716868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PHCACs in Horiz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E2C648-B42B-4828-AF0B-6A38420D39FC}"/>
              </a:ext>
            </a:extLst>
          </p:cNvPr>
          <p:cNvSpPr/>
          <p:nvPr/>
        </p:nvSpPr>
        <p:spPr>
          <a:xfrm>
            <a:off x="356994" y="4540284"/>
            <a:ext cx="4454074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i="1" dirty="0">
                <a:solidFill>
                  <a:prstClr val="black"/>
                </a:solidFill>
              </a:rPr>
              <a:t>From Left to Right… </a:t>
            </a:r>
            <a:br>
              <a:rPr lang="en-US" sz="2000" dirty="0">
                <a:solidFill>
                  <a:prstClr val="black"/>
                </a:solidFill>
              </a:rPr>
            </a:br>
            <a:r>
              <a:rPr lang="en-US" sz="2000" b="1" dirty="0">
                <a:solidFill>
                  <a:prstClr val="black"/>
                </a:solidFill>
              </a:rPr>
              <a:t>Zone 2: Stephanie Neilson,</a:t>
            </a:r>
            <a:br>
              <a:rPr lang="en-US" sz="2000" b="1" dirty="0">
                <a:solidFill>
                  <a:prstClr val="black"/>
                </a:solidFill>
              </a:rPr>
            </a:br>
            <a:r>
              <a:rPr lang="en-US" sz="2000" b="1" dirty="0">
                <a:solidFill>
                  <a:prstClr val="black"/>
                </a:solidFill>
              </a:rPr>
              <a:t>Zone 3: Nathanael Patriquin</a:t>
            </a:r>
          </a:p>
          <a:p>
            <a:pPr algn="ctr"/>
            <a:r>
              <a:rPr lang="en-US" sz="2000" b="1" dirty="0">
                <a:solidFill>
                  <a:prstClr val="black"/>
                </a:solidFill>
              </a:rPr>
              <a:t>Zone 1(B): Laurie Bouvier</a:t>
            </a:r>
            <a:br>
              <a:rPr lang="en-US" sz="2000" b="1" dirty="0">
                <a:solidFill>
                  <a:prstClr val="black"/>
                </a:solidFill>
              </a:rPr>
            </a:br>
            <a:r>
              <a:rPr lang="en-US" sz="2000" b="1" dirty="0">
                <a:solidFill>
                  <a:prstClr val="black"/>
                </a:solidFill>
              </a:rPr>
              <a:t>Zone 7: Kerri Mullin</a:t>
            </a:r>
          </a:p>
          <a:p>
            <a:endParaRPr lang="en-US" sz="1400" dirty="0">
              <a:solidFill>
                <a:prstClr val="black"/>
              </a:solidFill>
            </a:endParaRPr>
          </a:p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5" name="Picture 3">
            <a:extLst>
              <a:ext uri="{FF2B5EF4-FFF2-40B4-BE49-F238E27FC236}">
                <a16:creationId xmlns:a16="http://schemas.microsoft.com/office/drawing/2014/main" id="{B89B2B47-5950-42AE-A4A4-DA4020F0A6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5725" y="713985"/>
            <a:ext cx="2621331" cy="4108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60146C3-29ED-43BC-AF3A-7B68776E58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287" y="814232"/>
            <a:ext cx="4975061" cy="3726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013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01D0AF59-99C3-4251-AB9A-C966C6AD44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14">
            <a:extLst>
              <a:ext uri="{FF2B5EF4-FFF2-40B4-BE49-F238E27FC236}">
                <a16:creationId xmlns:a16="http://schemas.microsoft.com/office/drawing/2014/main" id="{1855405F-37A2-4869-9154-F8BE3BECE6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57759" y="480060"/>
            <a:ext cx="8428482" cy="5897880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>
            <a:outerShdw blurRad="63500" dist="17780" dir="5400000" algn="t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EAF2BFB-C7B2-4289-AE2B-7DA4E5AB384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1" y="480060"/>
            <a:ext cx="5895696" cy="5768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687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01D0AF59-99C3-4251-AB9A-C966C6AD44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855405F-37A2-4869-9154-F8BE3BECE6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57759" y="480060"/>
            <a:ext cx="8428482" cy="5897880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>
            <a:outerShdw blurRad="63500" dist="17780" dir="5400000" algn="t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29" name="Content Placeholder 3">
            <a:extLst>
              <a:ext uri="{FF2B5EF4-FFF2-40B4-BE49-F238E27FC236}">
                <a16:creationId xmlns:a16="http://schemas.microsoft.com/office/drawing/2014/main" id="{E4AE79AF-F66B-4286-9739-710FC0D8906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42216" y="643467"/>
            <a:ext cx="8059569" cy="557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377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DB003F-2595-44F3-8189-F98296946D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(ALLIED HEALTH EXAMPLE)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770EF29-A32B-4D91-8CC3-2708279C086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"/>
            <a:ext cx="9144000" cy="6945571"/>
          </a:xfrm>
        </p:spPr>
      </p:pic>
    </p:spTree>
    <p:extLst>
      <p:ext uri="{BB962C8B-B14F-4D97-AF65-F5344CB8AC3E}">
        <p14:creationId xmlns:p14="http://schemas.microsoft.com/office/powerpoint/2010/main" val="229388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 descr="Image result for multicultural clipart">
            <a:hlinkClick r:id="rId2"/>
            <a:extLst>
              <a:ext uri="{FF2B5EF4-FFF2-40B4-BE49-F238E27FC236}">
                <a16:creationId xmlns:a16="http://schemas.microsoft.com/office/drawing/2014/main" id="{1B59DB67-D3C6-4ECB-8AD6-C17BE87FB3BD}"/>
              </a:ext>
            </a:extLst>
          </p:cNvPr>
          <p:cNvPicPr>
            <a:picLocks noGrp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10" y="1384557"/>
            <a:ext cx="2821457" cy="2691478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Content Placeholder 10" descr="See the source image">
            <a:extLst>
              <a:ext uri="{FF2B5EF4-FFF2-40B4-BE49-F238E27FC236}">
                <a16:creationId xmlns:a16="http://schemas.microsoft.com/office/drawing/2014/main" id="{6A659BB0-C40B-45FC-B0E8-C6D8BAB9986F}"/>
              </a:ext>
            </a:extLst>
          </p:cNvPr>
          <p:cNvPicPr>
            <a:picLocks noGrp="1"/>
          </p:cNvPicPr>
          <p:nvPr>
            <p:ph sz="half" idx="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6331" y="1384557"/>
            <a:ext cx="3038470" cy="2691478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7B059E4-2C24-44A5-AC36-51EFDCF1DDCB}"/>
              </a:ext>
            </a:extLst>
          </p:cNvPr>
          <p:cNvSpPr/>
          <p:nvPr/>
        </p:nvSpPr>
        <p:spPr>
          <a:xfrm>
            <a:off x="2286000" y="4614234"/>
            <a:ext cx="4572000" cy="126515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tabLst>
                <a:tab pos="933450" algn="l"/>
              </a:tabLst>
            </a:pPr>
            <a:r>
              <a:rPr lang="en-CA" b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lping to link families and individuals to Primary Care Providers (family physicians and nurse practitioners).</a:t>
            </a:r>
            <a:endParaRPr lang="en-CA" sz="11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tabLst>
                <a:tab pos="933450" algn="l"/>
              </a:tabLst>
            </a:pPr>
            <a:r>
              <a:rPr lang="en-CA" sz="11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78645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1" name="Picture 3" descr="C:\Users\paulincl\Pictures\2019-04-23\056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22" y="0"/>
            <a:ext cx="695737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8667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955216" y="4572001"/>
            <a:ext cx="3233579" cy="107721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00" b="1" dirty="0" err="1">
                <a:solidFill>
                  <a:srgbClr val="2F2F92">
                    <a:lumMod val="75000"/>
                  </a:srgbClr>
                </a:solidFill>
              </a:rPr>
              <a:t>Sant</a:t>
            </a:r>
            <a:r>
              <a:rPr lang="fr-CA" sz="3200" b="1" dirty="0">
                <a:solidFill>
                  <a:srgbClr val="2F2F92">
                    <a:lumMod val="75000"/>
                  </a:srgbClr>
                </a:solidFill>
              </a:rPr>
              <a:t>é publique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fr-CA" sz="3200" dirty="0">
                <a:solidFill>
                  <a:srgbClr val="2F2F92">
                    <a:lumMod val="75000"/>
                  </a:srgbClr>
                </a:solidFill>
              </a:rPr>
              <a:t>30 avril 2019 </a:t>
            </a:r>
            <a:endParaRPr lang="en-US" sz="3200" dirty="0">
              <a:solidFill>
                <a:srgbClr val="2F2F92">
                  <a:lumMod val="75000"/>
                </a:srgbClr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extLst/>
        </p:spPr>
        <p:txBody>
          <a:bodyPr/>
          <a:lstStyle/>
          <a:p>
            <a:pPr>
              <a:defRPr/>
            </a:pPr>
            <a:r>
              <a:rPr lang="en-US" dirty="0"/>
              <a:t>Sunny picture </a:t>
            </a:r>
          </a:p>
        </p:txBody>
      </p:sp>
      <p:sp>
        <p:nvSpPr>
          <p:cNvPr id="9219" name="Subtitle 2"/>
          <p:cNvSpPr>
            <a:spLocks noGrp="1"/>
          </p:cNvSpPr>
          <p:nvPr>
            <p:ph type="subTitle" idx="1"/>
          </p:nvPr>
        </p:nvSpPr>
        <p:spPr>
          <a:xfrm>
            <a:off x="1371600" y="3332163"/>
            <a:ext cx="6400800" cy="1752600"/>
          </a:xfrm>
        </p:spPr>
        <p:txBody>
          <a:bodyPr/>
          <a:lstStyle/>
          <a:p>
            <a:r>
              <a:rPr lang="en-US" altLang="en-US"/>
              <a:t>Definition, monde plus sain </a:t>
            </a:r>
          </a:p>
        </p:txBody>
      </p:sp>
      <p:pic>
        <p:nvPicPr>
          <p:cNvPr id="9220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0999" y="31750"/>
            <a:ext cx="10106025" cy="682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1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5575" y="5989658"/>
            <a:ext cx="1892300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10243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220660" y="0"/>
            <a:ext cx="9936163" cy="6858000"/>
          </a:xfrm>
        </p:spPr>
      </p:pic>
      <p:pic>
        <p:nvPicPr>
          <p:cNvPr id="10244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5575" y="5989658"/>
            <a:ext cx="1892300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-228600" y="0"/>
          <a:ext cx="9525000" cy="6705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12291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457200" y="2"/>
            <a:ext cx="9990138" cy="6886575"/>
          </a:xfrm>
        </p:spPr>
      </p:pic>
      <p:pic>
        <p:nvPicPr>
          <p:cNvPr id="12292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7601" y="5989658"/>
            <a:ext cx="1892300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13315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304800" y="0"/>
            <a:ext cx="10172700" cy="6858000"/>
          </a:xfrm>
        </p:spPr>
      </p:pic>
      <p:pic>
        <p:nvPicPr>
          <p:cNvPr id="13316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801" y="5989658"/>
            <a:ext cx="1892300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Public-Health-template-image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708" y="-16910"/>
            <a:ext cx="9252520" cy="6884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6005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image00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7" r="4949" b="7624"/>
          <a:stretch/>
        </p:blipFill>
        <p:spPr bwMode="auto">
          <a:xfrm>
            <a:off x="609610" y="235069"/>
            <a:ext cx="7848599" cy="5087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18068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3" descr="image001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8" r="4606" b="7250"/>
          <a:stretch/>
        </p:blipFill>
        <p:spPr bwMode="auto">
          <a:xfrm>
            <a:off x="1066810" y="304820"/>
            <a:ext cx="7210301" cy="4833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2569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Grp="1" noChangeAspect="1" noChangeArrowheads="1"/>
          </p:cNvPicPr>
          <p:nvPr>
            <p:ph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10" y="228620"/>
            <a:ext cx="8522525" cy="4763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46713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75" y="548681"/>
            <a:ext cx="7776863" cy="5688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2286000" y="2551837"/>
            <a:ext cx="4572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fr-CA" dirty="0"/>
          </a:p>
          <a:p>
            <a:endParaRPr lang="fr-CA" b="1" dirty="0"/>
          </a:p>
          <a:p>
            <a:endParaRPr lang="fr-CA" b="1" dirty="0"/>
          </a:p>
          <a:p>
            <a:endParaRPr lang="fr-CA" b="1" dirty="0"/>
          </a:p>
          <a:p>
            <a:endParaRPr lang="en-US" b="1" u="sng" dirty="0"/>
          </a:p>
          <a:p>
            <a:endParaRPr lang="en-CA" b="1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627" y="584222"/>
            <a:ext cx="7778750" cy="5688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/>
        </p:nvSpPr>
        <p:spPr>
          <a:xfrm>
            <a:off x="2286000" y="1582344"/>
            <a:ext cx="4572000" cy="3693319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b="1" u="sng" dirty="0"/>
          </a:p>
          <a:p>
            <a:endParaRPr lang="fr-CA" dirty="0"/>
          </a:p>
          <a:p>
            <a:endParaRPr lang="fr-CA" dirty="0"/>
          </a:p>
          <a:p>
            <a:endParaRPr lang="fr-CA" dirty="0"/>
          </a:p>
          <a:p>
            <a:endParaRPr lang="fr-CA" dirty="0"/>
          </a:p>
          <a:p>
            <a:endParaRPr lang="fr-CA" dirty="0"/>
          </a:p>
          <a:p>
            <a:endParaRPr lang="fr-CA" dirty="0"/>
          </a:p>
          <a:p>
            <a:endParaRPr lang="fr-CA" dirty="0"/>
          </a:p>
          <a:p>
            <a:endParaRPr lang="fr-CA" dirty="0"/>
          </a:p>
          <a:p>
            <a:endParaRPr lang="fr-CA" dirty="0"/>
          </a:p>
          <a:p>
            <a:endParaRPr lang="fr-CA" dirty="0"/>
          </a:p>
          <a:p>
            <a:endParaRPr lang="fr-CA" dirty="0"/>
          </a:p>
          <a:p>
            <a:endParaRPr lang="fr-CA" dirty="0"/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4230" y="-1"/>
            <a:ext cx="9440308" cy="685800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  <a:reflection endPos="57000" dist="7239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395537" y="3573023"/>
            <a:ext cx="234116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rgbClr val="FF0000"/>
                </a:solidFill>
              </a:rPr>
              <a:t>Société</a:t>
            </a:r>
            <a:r>
              <a:rPr lang="en-US" dirty="0">
                <a:solidFill>
                  <a:srgbClr val="FF0000"/>
                </a:solidFill>
              </a:rPr>
              <a:t> de </a:t>
            </a:r>
            <a:r>
              <a:rPr lang="en-US" dirty="0" err="1">
                <a:solidFill>
                  <a:srgbClr val="FF0000"/>
                </a:solidFill>
              </a:rPr>
              <a:t>Schizophrénie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2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121" y="584200"/>
            <a:ext cx="1555373" cy="1296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9"/>
          <p:cNvSpPr/>
          <p:nvPr/>
        </p:nvSpPr>
        <p:spPr>
          <a:xfrm rot="10620731" flipV="1">
            <a:off x="6983068" y="3990638"/>
            <a:ext cx="13260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rgbClr val="FF0000"/>
                </a:solidFill>
              </a:rPr>
              <a:t>Comité</a:t>
            </a:r>
            <a:r>
              <a:rPr lang="en-US" dirty="0">
                <a:solidFill>
                  <a:srgbClr val="FF0000"/>
                </a:solidFill>
              </a:rPr>
              <a:t> du </a:t>
            </a:r>
            <a:r>
              <a:rPr lang="en-US" dirty="0" err="1">
                <a:solidFill>
                  <a:srgbClr val="FF0000"/>
                </a:solidFill>
              </a:rPr>
              <a:t>Mieux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 err="1">
                <a:solidFill>
                  <a:srgbClr val="FF0000"/>
                </a:solidFill>
              </a:rPr>
              <a:t>Etre</a:t>
            </a:r>
            <a:r>
              <a:rPr lang="en-US" b="1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25" name="Rectangle 24"/>
          <p:cNvSpPr/>
          <p:nvPr/>
        </p:nvSpPr>
        <p:spPr>
          <a:xfrm flipH="1">
            <a:off x="4788024" y="5733256"/>
            <a:ext cx="8640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ACSM</a:t>
            </a:r>
            <a:endParaRPr lang="en-CA" dirty="0">
              <a:solidFill>
                <a:srgbClr val="FF0000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084168" y="5085234"/>
            <a:ext cx="260891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CA" dirty="0">
                <a:solidFill>
                  <a:srgbClr val="FF0000"/>
                </a:solidFill>
              </a:rPr>
              <a:t>Communautés</a:t>
            </a:r>
            <a:r>
              <a:rPr lang="fr-CA" dirty="0"/>
              <a:t> </a:t>
            </a:r>
            <a:r>
              <a:rPr lang="fr-CA" dirty="0">
                <a:solidFill>
                  <a:srgbClr val="FF0000"/>
                </a:solidFill>
              </a:rPr>
              <a:t>de Premières Nations </a:t>
            </a:r>
          </a:p>
        </p:txBody>
      </p:sp>
    </p:spTree>
    <p:extLst>
      <p:ext uri="{BB962C8B-B14F-4D97-AF65-F5344CB8AC3E}">
        <p14:creationId xmlns:p14="http://schemas.microsoft.com/office/powerpoint/2010/main" val="3065631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See the source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1" y="228600"/>
            <a:ext cx="7452716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3975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838200"/>
            <a:ext cx="8805672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480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D6DD9B-500E-4313-9012-D36D4B65C6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</p:spPr>
        <p:txBody>
          <a:bodyPr/>
          <a:lstStyle/>
          <a:p>
            <a:pPr algn="ctr"/>
            <a:r>
              <a:rPr lang="en-US"/>
              <a:t>Canadian Mental Health Association of NB </a:t>
            </a:r>
            <a:endParaRPr lang="en-CA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D1E0CE2-8C18-4D5A-96C7-02CFD9514B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868" y="2351336"/>
            <a:ext cx="5371429" cy="4112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070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3E8462A-FEBA-4848-81CC-3F8DA3E477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1714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109F83F-40FE-4DB3-84CC-09FB3340D0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1DE492D7-C3C3-48FF-80C8-37021EA026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Rectangle 23">
              <a:extLst>
                <a:ext uri="{FF2B5EF4-FFF2-40B4-BE49-F238E27FC236}">
                  <a16:creationId xmlns:a16="http://schemas.microsoft.com/office/drawing/2014/main" id="{0B30FF97-2E9A-490A-AED2-90BA2E0EC17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Rectangle 25">
              <a:extLst>
                <a:ext uri="{FF2B5EF4-FFF2-40B4-BE49-F238E27FC236}">
                  <a16:creationId xmlns:a16="http://schemas.microsoft.com/office/drawing/2014/main" id="{B6D53C7D-A312-47B6-A66A-230A19CFACA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Isosceles Triangle 13">
              <a:extLst>
                <a:ext uri="{FF2B5EF4-FFF2-40B4-BE49-F238E27FC236}">
                  <a16:creationId xmlns:a16="http://schemas.microsoft.com/office/drawing/2014/main" id="{9329D58C-0D2E-4A2B-AD6A-9CEE506784A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Rectangle 27">
              <a:extLst>
                <a:ext uri="{FF2B5EF4-FFF2-40B4-BE49-F238E27FC236}">
                  <a16:creationId xmlns:a16="http://schemas.microsoft.com/office/drawing/2014/main" id="{9D446EDE-C690-4461-8BF2-7634808FC8B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Rectangle 28">
              <a:extLst>
                <a:ext uri="{FF2B5EF4-FFF2-40B4-BE49-F238E27FC236}">
                  <a16:creationId xmlns:a16="http://schemas.microsoft.com/office/drawing/2014/main" id="{323F3D34-6531-4AD7-A8C6-195A090281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Rectangle 29">
              <a:extLst>
                <a:ext uri="{FF2B5EF4-FFF2-40B4-BE49-F238E27FC236}">
                  <a16:creationId xmlns:a16="http://schemas.microsoft.com/office/drawing/2014/main" id="{B9B0AE3F-2350-435F-A9B0-C310BF87638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Isosceles Triangle 17">
              <a:extLst>
                <a:ext uri="{FF2B5EF4-FFF2-40B4-BE49-F238E27FC236}">
                  <a16:creationId xmlns:a16="http://schemas.microsoft.com/office/drawing/2014/main" id="{4EFA655C-9E50-4C14-A89E-AD7B648E4E2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>
              <a:extLst>
                <a:ext uri="{FF2B5EF4-FFF2-40B4-BE49-F238E27FC236}">
                  <a16:creationId xmlns:a16="http://schemas.microsoft.com/office/drawing/2014/main" id="{3E843863-7D25-4C01-9A17-E817CB6D998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7941F9B1-B01B-4A84-89D9-B169AEB4E4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57759" y="480060"/>
            <a:ext cx="8428482" cy="5897880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>
            <a:outerShdw blurRad="63500" dist="17780" dir="5400000" algn="t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361E37B-1355-4C45-B19D-DA513B10AB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5285" y="1131994"/>
            <a:ext cx="5397374" cy="459038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214375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75000">
        <p:fade/>
      </p:transition>
    </mc:Choice>
    <mc:Fallback xmlns="">
      <p:transition spd="med" advClick="0" advTm="75000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>
            <a:extLst>
              <a:ext uri="{FF2B5EF4-FFF2-40B4-BE49-F238E27FC236}">
                <a16:creationId xmlns:a16="http://schemas.microsoft.com/office/drawing/2014/main" id="{D58F7BA4-B6D7-4093-BC9D-BA2CF918AE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A1490F55-F54C-467C-B8A6-A31153CC5A8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85000"/>
                  <a:lumOff val="1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B2F2A405-ED68-4CB8-9732-67DA21F2A1B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  <a:lumOff val="1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Rectangle 23">
              <a:extLst>
                <a:ext uri="{FF2B5EF4-FFF2-40B4-BE49-F238E27FC236}">
                  <a16:creationId xmlns:a16="http://schemas.microsoft.com/office/drawing/2014/main" id="{8A7D2B90-65E1-48B0-8CA7-52D5474063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52" name="Rectangle 25">
              <a:extLst>
                <a:ext uri="{FF2B5EF4-FFF2-40B4-BE49-F238E27FC236}">
                  <a16:creationId xmlns:a16="http://schemas.microsoft.com/office/drawing/2014/main" id="{E924D5FD-FDCC-4B58-A2A3-D540DA6203F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53" name="Isosceles Triangle 52">
              <a:extLst>
                <a:ext uri="{FF2B5EF4-FFF2-40B4-BE49-F238E27FC236}">
                  <a16:creationId xmlns:a16="http://schemas.microsoft.com/office/drawing/2014/main" id="{5E193FF4-6DE7-4427-8CA6-6391CF05F2C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54" name="Rectangle 27">
              <a:extLst>
                <a:ext uri="{FF2B5EF4-FFF2-40B4-BE49-F238E27FC236}">
                  <a16:creationId xmlns:a16="http://schemas.microsoft.com/office/drawing/2014/main" id="{B53557E8-484E-4039-B233-EBFF43A3B9C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55" name="Rectangle 28">
              <a:extLst>
                <a:ext uri="{FF2B5EF4-FFF2-40B4-BE49-F238E27FC236}">
                  <a16:creationId xmlns:a16="http://schemas.microsoft.com/office/drawing/2014/main" id="{45E1412B-7A92-4620-B822-2510023D456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56" name="Rectangle 29">
              <a:extLst>
                <a:ext uri="{FF2B5EF4-FFF2-40B4-BE49-F238E27FC236}">
                  <a16:creationId xmlns:a16="http://schemas.microsoft.com/office/drawing/2014/main" id="{D21DAC8F-94C8-4EBC-8454-1525B0F593F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57" name="Isosceles Triangle 56">
              <a:extLst>
                <a:ext uri="{FF2B5EF4-FFF2-40B4-BE49-F238E27FC236}">
                  <a16:creationId xmlns:a16="http://schemas.microsoft.com/office/drawing/2014/main" id="{A34D249F-4969-44EA-A390-4FCDA5EB918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58" name="Isosceles Triangle 57">
              <a:extLst>
                <a:ext uri="{FF2B5EF4-FFF2-40B4-BE49-F238E27FC236}">
                  <a16:creationId xmlns:a16="http://schemas.microsoft.com/office/drawing/2014/main" id="{3AB39E86-A756-4CA8-B71D-0AF734B3180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 useBgFill="1">
        <p:nvSpPr>
          <p:cNvPr id="60" name="Rectangle 59">
            <a:extLst>
              <a:ext uri="{FF2B5EF4-FFF2-40B4-BE49-F238E27FC236}">
                <a16:creationId xmlns:a16="http://schemas.microsoft.com/office/drawing/2014/main" id="{14D16F1A-5D78-4402-81FF-31A98AFD6B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48307C-9046-4F7B-B6F7-ACD3F90D2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10" y="609621"/>
            <a:ext cx="7648121" cy="1099457"/>
          </a:xfrm>
        </p:spPr>
        <p:txBody>
          <a:bodyPr vert="horz" lIns="91440" tIns="45720" rIns="91440" bIns="45720" rtlCol="0" anchor="t">
            <a:normAutofit fontScale="90000"/>
          </a:bodyPr>
          <a:lstStyle/>
          <a:p>
            <a:pPr algn="ctr"/>
            <a:r>
              <a:rPr lang="en-US" sz="3600" dirty="0"/>
              <a:t>PROMOTE MENTAL HEALTH FOR ALL PEOPLE</a:t>
            </a:r>
          </a:p>
        </p:txBody>
      </p:sp>
      <p:sp>
        <p:nvSpPr>
          <p:cNvPr id="62" name="Isosceles Triangle 61">
            <a:extLst>
              <a:ext uri="{FF2B5EF4-FFF2-40B4-BE49-F238E27FC236}">
                <a16:creationId xmlns:a16="http://schemas.microsoft.com/office/drawing/2014/main" id="{1B2FB7F0-6A45-43E8-88A7-48E46E6D48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2" y="0"/>
            <a:ext cx="631947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4" name="Isosceles Triangle 63">
            <a:extLst>
              <a:ext uri="{FF2B5EF4-FFF2-40B4-BE49-F238E27FC236}">
                <a16:creationId xmlns:a16="http://schemas.microsoft.com/office/drawing/2014/main" id="{6BA9C607-662B-4FBB-A3F3-CF593AD736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807451" y="4013200"/>
            <a:ext cx="336550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graphicFrame>
        <p:nvGraphicFramePr>
          <p:cNvPr id="22" name="Text Placeholder 2">
            <a:extLst>
              <a:ext uri="{FF2B5EF4-FFF2-40B4-BE49-F238E27FC236}">
                <a16:creationId xmlns:a16="http://schemas.microsoft.com/office/drawing/2014/main" id="{D638F5BD-A659-4003-9022-1CEF86ECA4A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26312259"/>
              </p:ext>
            </p:extLst>
          </p:nvPr>
        </p:nvGraphicFramePr>
        <p:xfrm>
          <a:off x="965202" y="1948543"/>
          <a:ext cx="7213600" cy="409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69638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75000">
        <p:fade/>
      </p:transition>
    </mc:Choice>
    <mc:Fallback xmlns="">
      <p:transition spd="med" advClick="0" advTm="75000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5" name="Rectangle 34">
            <a:extLst>
              <a:ext uri="{FF2B5EF4-FFF2-40B4-BE49-F238E27FC236}">
                <a16:creationId xmlns:a16="http://schemas.microsoft.com/office/drawing/2014/main" id="{14D16F1A-5D78-4402-81FF-31A98AFD6B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7AA591-D614-4F51-AC9B-10CA7098C4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8" y="609617"/>
            <a:ext cx="7648121" cy="1099457"/>
          </a:xfrm>
        </p:spPr>
        <p:txBody>
          <a:bodyPr>
            <a:normAutofit fontScale="90000"/>
          </a:bodyPr>
          <a:lstStyle/>
          <a:p>
            <a:pPr algn="ctr">
              <a:lnSpc>
                <a:spcPct val="90000"/>
              </a:lnSpc>
            </a:pPr>
            <a:r>
              <a:rPr lang="en-US"/>
              <a:t>RANDOM NUMBERS!</a:t>
            </a:r>
            <a:br>
              <a:rPr lang="en-US" sz="2300"/>
            </a:br>
            <a:br>
              <a:rPr lang="en-US" sz="2300"/>
            </a:br>
            <a:endParaRPr lang="en-CA" sz="2300" dirty="0"/>
          </a:p>
        </p:txBody>
      </p:sp>
      <p:sp>
        <p:nvSpPr>
          <p:cNvPr id="37" name="Isosceles Triangle 36">
            <a:extLst>
              <a:ext uri="{FF2B5EF4-FFF2-40B4-BE49-F238E27FC236}">
                <a16:creationId xmlns:a16="http://schemas.microsoft.com/office/drawing/2014/main" id="{1B2FB7F0-6A45-43E8-88A7-48E46E6D48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2" y="0"/>
            <a:ext cx="631947" cy="5666154"/>
          </a:xfrm>
          <a:prstGeom prst="triangle">
            <a:avLst>
              <a:gd name="adj" fmla="val 10000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39" name="Isosceles Triangle 38">
            <a:extLst>
              <a:ext uri="{FF2B5EF4-FFF2-40B4-BE49-F238E27FC236}">
                <a16:creationId xmlns:a16="http://schemas.microsoft.com/office/drawing/2014/main" id="{6BA9C607-662B-4FBB-A3F3-CF593AD736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807451" y="4013200"/>
            <a:ext cx="336550" cy="2844800"/>
          </a:xfrm>
          <a:prstGeom prst="triangle">
            <a:avLst>
              <a:gd name="adj" fmla="val 0"/>
            </a:avLst>
          </a:prstGeom>
          <a:solidFill>
            <a:schemeClr val="accent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graphicFrame>
        <p:nvGraphicFramePr>
          <p:cNvPr id="30" name="Content Placeholder 2">
            <a:extLst>
              <a:ext uri="{FF2B5EF4-FFF2-40B4-BE49-F238E27FC236}">
                <a16:creationId xmlns:a16="http://schemas.microsoft.com/office/drawing/2014/main" id="{1827914E-B14B-45E5-AE83-FC536DBB8BD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08739876"/>
              </p:ext>
            </p:extLst>
          </p:nvPr>
        </p:nvGraphicFramePr>
        <p:xfrm>
          <a:off x="965202" y="1948543"/>
          <a:ext cx="7213600" cy="409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870905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75000">
        <p:fade/>
      </p:transition>
    </mc:Choice>
    <mc:Fallback xmlns="">
      <p:transition spd="med" advClick="0" advTm="75000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4912257-CBBD-47D6-AB0A-F25CE856CE4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2239" b="1490"/>
          <a:stretch/>
        </p:blipFill>
        <p:spPr>
          <a:xfrm>
            <a:off x="17" y="10"/>
            <a:ext cx="9143985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597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75000">
        <p:fade/>
      </p:transition>
    </mc:Choice>
    <mc:Fallback xmlns="">
      <p:transition spd="med" advClick="0" advTm="75000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57420"/>
            <a:ext cx="7772400" cy="1470025"/>
          </a:xfrm>
        </p:spPr>
        <p:txBody>
          <a:bodyPr>
            <a:noAutofit/>
          </a:bodyPr>
          <a:lstStyle/>
          <a:p>
            <a:r>
              <a:rPr lang="en-US" sz="4400" b="1" dirty="0">
                <a:solidFill>
                  <a:srgbClr val="C00000"/>
                </a:solidFill>
              </a:rPr>
              <a:t>Sport and Recreation Branch </a:t>
            </a:r>
            <a:br>
              <a:rPr lang="en-US" sz="4400" dirty="0">
                <a:solidFill>
                  <a:prstClr val="black"/>
                </a:solidFill>
              </a:rPr>
            </a:br>
            <a:endParaRPr lang="en-US" sz="4400" dirty="0"/>
          </a:p>
        </p:txBody>
      </p:sp>
      <p:sp>
        <p:nvSpPr>
          <p:cNvPr id="4" name="Text Placeholder 3"/>
          <p:cNvSpPr>
            <a:spLocks noGrp="1"/>
          </p:cNvSpPr>
          <p:nvPr>
            <p:ph type="subTitle" idx="1"/>
          </p:nvPr>
        </p:nvSpPr>
        <p:spPr>
          <a:xfrm>
            <a:off x="1447800" y="2971800"/>
            <a:ext cx="6400800" cy="1752600"/>
          </a:xfrm>
        </p:spPr>
        <p:txBody>
          <a:bodyPr>
            <a:normAutofit/>
          </a:bodyPr>
          <a:lstStyle/>
          <a:p>
            <a:pPr algn="r"/>
            <a:r>
              <a:rPr lang="en-US" sz="2800" dirty="0">
                <a:solidFill>
                  <a:srgbClr val="C00000"/>
                </a:solidFill>
              </a:rPr>
              <a:t>Ryan Jacobson</a:t>
            </a:r>
            <a:endParaRPr lang="en-US" sz="2800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A4CB898-38F0-40A6-8FE7-1F05102E8F61}"/>
              </a:ext>
            </a:extLst>
          </p:cNvPr>
          <p:cNvCxnSpPr/>
          <p:nvPr/>
        </p:nvCxnSpPr>
        <p:spPr>
          <a:xfrm flipH="1">
            <a:off x="381000" y="6318727"/>
            <a:ext cx="7946572" cy="1"/>
          </a:xfrm>
          <a:prstGeom prst="line">
            <a:avLst/>
          </a:prstGeom>
          <a:ln>
            <a:solidFill>
              <a:srgbClr val="C00000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46169918-5955-44A0-A675-DC07CEDF5759}"/>
              </a:ext>
            </a:extLst>
          </p:cNvPr>
          <p:cNvSpPr txBox="1"/>
          <p:nvPr/>
        </p:nvSpPr>
        <p:spPr>
          <a:xfrm>
            <a:off x="381000" y="6405114"/>
            <a:ext cx="796472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457200"/>
            <a:r>
              <a:rPr lang="fr-CA" sz="800" dirty="0">
                <a:solidFill>
                  <a:srgbClr val="C00000"/>
                </a:solidFill>
                <a:effectLst>
                  <a:outerShdw blurRad="247650" dist="38100" dir="2700000" algn="tl" rotWithShape="0">
                    <a:srgbClr val="000000">
                      <a:alpha val="66000"/>
                    </a:srgbClr>
                  </a:outerShdw>
                </a:effectLst>
                <a:latin typeface="AdelleSans-Regular"/>
                <a:cs typeface="AdelleSans-Regular"/>
              </a:rPr>
              <a:t>NEW BRUNSWICK TOURISM, HERITAGE AND CULTURE</a:t>
            </a:r>
          </a:p>
          <a:p>
            <a:pPr algn="r" defTabSz="457200">
              <a:defRPr/>
            </a:pPr>
            <a:r>
              <a:rPr lang="en-CA" sz="800" dirty="0">
                <a:ln w="18415" cmpd="sng">
                  <a:noFill/>
                  <a:prstDash val="solid"/>
                </a:ln>
                <a:solidFill>
                  <a:srgbClr val="C00000"/>
                </a:solidFill>
                <a:effectLst>
                  <a:outerShdw blurRad="247650" dist="38100" dir="2700000" algn="tl" rotWithShape="0">
                    <a:srgbClr val="000000">
                      <a:alpha val="66000"/>
                    </a:srgbClr>
                  </a:outerShdw>
                </a:effectLst>
                <a:latin typeface="AdelleSans-Regular"/>
                <a:cs typeface="AdelleSans-Regular"/>
              </a:rPr>
              <a:t>A PROPOSAL BY </a:t>
            </a:r>
            <a:r>
              <a:rPr lang="fr-CA" sz="800" dirty="0">
                <a:ln w="18415" cmpd="sng">
                  <a:noFill/>
                  <a:prstDash val="solid"/>
                </a:ln>
                <a:solidFill>
                  <a:srgbClr val="C00000"/>
                </a:solidFill>
                <a:effectLst>
                  <a:outerShdw blurRad="247650" dist="38100" dir="2700000" algn="tl" rotWithShape="0">
                    <a:srgbClr val="000000">
                      <a:alpha val="66000"/>
                    </a:srgbClr>
                  </a:outerShdw>
                </a:effectLst>
                <a:latin typeface="AdelleSans-Regular"/>
                <a:cs typeface="AdelleSans-Regular"/>
              </a:rPr>
              <a:t>Ryan Jacobson</a:t>
            </a:r>
            <a:endParaRPr lang="en-US" sz="800" dirty="0">
              <a:solidFill>
                <a:srgbClr val="C00000"/>
              </a:solidFill>
              <a:effectLst>
                <a:outerShdw blurRad="247650" dist="38100" dir="2700000" algn="tl" rotWithShape="0">
                  <a:srgbClr val="000000">
                    <a:alpha val="66000"/>
                  </a:srgbClr>
                </a:outerShdw>
              </a:effectLst>
              <a:latin typeface="AdelleSans-Regular"/>
              <a:cs typeface="AdelleSans-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7464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lides_Sports_SugarloafBike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07" r="468"/>
          <a:stretch/>
        </p:blipFill>
        <p:spPr>
          <a:xfrm>
            <a:off x="-120073" y="0"/>
            <a:ext cx="9264073" cy="6858000"/>
          </a:xfrm>
          <a:prstGeom prst="rect">
            <a:avLst/>
          </a:prstGeom>
          <a:effectLst>
            <a:softEdge rad="0"/>
          </a:effectLst>
        </p:spPr>
      </p:pic>
      <p:sp>
        <p:nvSpPr>
          <p:cNvPr id="5" name="TextBox 4"/>
          <p:cNvSpPr txBox="1"/>
          <p:nvPr/>
        </p:nvSpPr>
        <p:spPr>
          <a:xfrm>
            <a:off x="567867" y="6405114"/>
            <a:ext cx="796472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457200"/>
            <a:r>
              <a:rPr lang="fr-CA" sz="800" dirty="0">
                <a:solidFill>
                  <a:prstClr val="white"/>
                </a:solidFill>
                <a:effectLst>
                  <a:outerShdw blurRad="247650" dist="38100" dir="2700000" algn="tl" rotWithShape="0">
                    <a:srgbClr val="000000">
                      <a:alpha val="66000"/>
                    </a:srgbClr>
                  </a:outerShdw>
                </a:effectLst>
                <a:latin typeface="AdelleSans-Regular"/>
                <a:cs typeface="AdelleSans-Regular"/>
              </a:rPr>
              <a:t>NEW BRUNSWICK TOURISM, HERITAGE AND CULTURE</a:t>
            </a:r>
          </a:p>
          <a:p>
            <a:pPr algn="r" defTabSz="457200">
              <a:defRPr/>
            </a:pPr>
            <a:r>
              <a:rPr lang="en-CA" sz="800" dirty="0">
                <a:ln w="18415" cmpd="sng">
                  <a:noFill/>
                  <a:prstDash val="solid"/>
                </a:ln>
                <a:solidFill>
                  <a:prstClr val="white"/>
                </a:solidFill>
                <a:effectLst>
                  <a:outerShdw blurRad="247650" dist="38100" dir="2700000" algn="tl" rotWithShape="0">
                    <a:srgbClr val="000000">
                      <a:alpha val="66000"/>
                    </a:srgbClr>
                  </a:outerShdw>
                </a:effectLst>
                <a:latin typeface="AdelleSans-Regular"/>
                <a:cs typeface="AdelleSans-Regular"/>
              </a:rPr>
              <a:t>A PROPOSAL BY </a:t>
            </a:r>
            <a:r>
              <a:rPr lang="fr-CA" sz="800" dirty="0">
                <a:ln w="18415" cmpd="sng">
                  <a:noFill/>
                  <a:prstDash val="solid"/>
                </a:ln>
                <a:solidFill>
                  <a:prstClr val="white"/>
                </a:solidFill>
                <a:effectLst>
                  <a:outerShdw blurRad="247650" dist="38100" dir="2700000" algn="tl" rotWithShape="0">
                    <a:srgbClr val="000000">
                      <a:alpha val="66000"/>
                    </a:srgbClr>
                  </a:outerShdw>
                </a:effectLst>
                <a:latin typeface="AdelleSans-Regular"/>
                <a:cs typeface="AdelleSans-Regular"/>
              </a:rPr>
              <a:t>Ryan Jacobson</a:t>
            </a:r>
            <a:endParaRPr lang="en-US" sz="800" dirty="0">
              <a:solidFill>
                <a:prstClr val="white"/>
              </a:solidFill>
              <a:effectLst>
                <a:outerShdw blurRad="247650" dist="38100" dir="2700000" algn="tl" rotWithShape="0">
                  <a:srgbClr val="000000">
                    <a:alpha val="66000"/>
                  </a:srgbClr>
                </a:outerShdw>
              </a:effectLst>
              <a:latin typeface="AdelleSans-Regular"/>
              <a:cs typeface="AdelleSans-Regular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598716" y="6318727"/>
            <a:ext cx="7946572" cy="1"/>
          </a:xfrm>
          <a:prstGeom prst="line">
            <a:avLst/>
          </a:prstGeom>
          <a:ln>
            <a:solidFill>
              <a:schemeClr val="bg1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NB_Canada_Reverse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5413" y="492453"/>
            <a:ext cx="1105595" cy="470393"/>
          </a:xfrm>
          <a:prstGeom prst="rect">
            <a:avLst/>
          </a:prstGeom>
          <a:effectLst>
            <a:outerShdw blurRad="234950" dir="2700000" algn="tl" rotWithShape="0">
              <a:schemeClr val="tx1">
                <a:lumMod val="65000"/>
                <a:lumOff val="35000"/>
                <a:alpha val="68000"/>
              </a:schemeClr>
            </a:outerShdw>
          </a:effec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CCC356A-A7B4-42B3-9276-AD4BF1871027}"/>
              </a:ext>
            </a:extLst>
          </p:cNvPr>
          <p:cNvSpPr txBox="1">
            <a:spLocks/>
          </p:cNvSpPr>
          <p:nvPr/>
        </p:nvSpPr>
        <p:spPr>
          <a:xfrm>
            <a:off x="-2424543" y="395898"/>
            <a:ext cx="2424545" cy="113385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>
                <a:solidFill>
                  <a:srgbClr val="FFFFFF"/>
                </a:solidFill>
                <a:latin typeface="Adelle Sans Light"/>
                <a:ea typeface="+mj-ea"/>
                <a:cs typeface="Adelle Sans Light"/>
              </a:defRPr>
            </a:lvl1pPr>
          </a:lstStyle>
          <a:p>
            <a:pPr algn="ctr"/>
            <a:endParaRPr lang="en-US" sz="40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742D7DE-B629-466A-9C24-093684C990DC}"/>
              </a:ext>
            </a:extLst>
          </p:cNvPr>
          <p:cNvSpPr txBox="1"/>
          <p:nvPr/>
        </p:nvSpPr>
        <p:spPr>
          <a:xfrm>
            <a:off x="207657" y="462603"/>
            <a:ext cx="3800935" cy="5493812"/>
          </a:xfrm>
          <a:prstGeom prst="rect">
            <a:avLst/>
          </a:prstGeom>
          <a:solidFill>
            <a:schemeClr val="bg1">
              <a:alpha val="62000"/>
            </a:schemeClr>
          </a:solidFill>
          <a:effectLst>
            <a:softEdge rad="63500"/>
          </a:effectLst>
        </p:spPr>
        <p:txBody>
          <a:bodyPr wrap="square" rtlCol="0" anchor="ctr" anchorCtr="0">
            <a:spAutoFit/>
          </a:bodyPr>
          <a:lstStyle/>
          <a:p>
            <a:pPr algn="ctr" defTabSz="457200">
              <a:spcBef>
                <a:spcPts val="200"/>
              </a:spcBef>
            </a:pPr>
            <a:r>
              <a:rPr lang="en-US" sz="3800" dirty="0">
                <a:solidFill>
                  <a:srgbClr val="C00000"/>
                </a:solidFill>
              </a:rPr>
              <a:t>Sport and Recreation Branch </a:t>
            </a:r>
            <a:endParaRPr lang="en-US" sz="3800" dirty="0">
              <a:solidFill>
                <a:prstClr val="black"/>
              </a:solidFill>
            </a:endParaRPr>
          </a:p>
          <a:p>
            <a:pPr defTabSz="457200">
              <a:spcBef>
                <a:spcPts val="200"/>
              </a:spcBef>
            </a:pPr>
            <a:endParaRPr lang="en-US" sz="1000" dirty="0">
              <a:solidFill>
                <a:srgbClr val="C00000"/>
              </a:solidFill>
            </a:endParaRPr>
          </a:p>
          <a:p>
            <a:pPr marL="111125" defTabSz="457200">
              <a:spcBef>
                <a:spcPts val="200"/>
              </a:spcBef>
            </a:pPr>
            <a:r>
              <a:rPr lang="en-US" sz="2000" dirty="0">
                <a:solidFill>
                  <a:srgbClr val="C00000"/>
                </a:solidFill>
              </a:rPr>
              <a:t>Mission: </a:t>
            </a:r>
            <a:r>
              <a:rPr lang="en-US" sz="2000" dirty="0">
                <a:solidFill>
                  <a:prstClr val="white">
                    <a:lumMod val="50000"/>
                  </a:prstClr>
                </a:solidFill>
              </a:rPr>
              <a:t>Provide strategic leadership and support to strengthen the sport and recreation system resulting in increased opportunities for active living to improve the wellbeing of all new Brunswickers</a:t>
            </a:r>
          </a:p>
          <a:p>
            <a:pPr marL="111125" defTabSz="457200">
              <a:spcBef>
                <a:spcPts val="200"/>
              </a:spcBef>
            </a:pPr>
            <a:r>
              <a:rPr lang="en-US" sz="2000" dirty="0">
                <a:solidFill>
                  <a:srgbClr val="C00000"/>
                </a:solidFill>
              </a:rPr>
              <a:t>Vision: </a:t>
            </a:r>
            <a:r>
              <a:rPr lang="en-US" sz="2000" dirty="0">
                <a:solidFill>
                  <a:prstClr val="white">
                    <a:lumMod val="50000"/>
                  </a:prstClr>
                </a:solidFill>
              </a:rPr>
              <a:t>A strong and robust sport and recreation delivery system providing meaningful, accessible and highly valued opportunities that contribute to the wellbeing of all New Brunswickers</a:t>
            </a:r>
          </a:p>
        </p:txBody>
      </p:sp>
    </p:spTree>
    <p:extLst>
      <p:ext uri="{BB962C8B-B14F-4D97-AF65-F5344CB8AC3E}">
        <p14:creationId xmlns:p14="http://schemas.microsoft.com/office/powerpoint/2010/main" val="3877090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lides_Sports_FundySki.jpg">
            <a:extLst>
              <a:ext uri="{FF2B5EF4-FFF2-40B4-BE49-F238E27FC236}">
                <a16:creationId xmlns:a16="http://schemas.microsoft.com/office/drawing/2014/main" id="{D2CE0056-D445-4ECE-AC98-CCDE7EA0E5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A4CB898-38F0-40A6-8FE7-1F05102E8F61}"/>
              </a:ext>
            </a:extLst>
          </p:cNvPr>
          <p:cNvCxnSpPr/>
          <p:nvPr/>
        </p:nvCxnSpPr>
        <p:spPr>
          <a:xfrm flipH="1">
            <a:off x="598716" y="6318727"/>
            <a:ext cx="7946572" cy="1"/>
          </a:xfrm>
          <a:prstGeom prst="line">
            <a:avLst/>
          </a:prstGeom>
          <a:ln>
            <a:solidFill>
              <a:srgbClr val="C00000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46169918-5955-44A0-A675-DC07CEDF5759}"/>
              </a:ext>
            </a:extLst>
          </p:cNvPr>
          <p:cNvSpPr txBox="1"/>
          <p:nvPr/>
        </p:nvSpPr>
        <p:spPr>
          <a:xfrm>
            <a:off x="567867" y="6405114"/>
            <a:ext cx="796472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457200"/>
            <a:r>
              <a:rPr lang="fr-CA" sz="800" dirty="0">
                <a:solidFill>
                  <a:srgbClr val="C00000"/>
                </a:solidFill>
                <a:effectLst>
                  <a:outerShdw blurRad="247650" dist="38100" dir="2700000" algn="tl" rotWithShape="0">
                    <a:srgbClr val="000000">
                      <a:alpha val="66000"/>
                    </a:srgbClr>
                  </a:outerShdw>
                </a:effectLst>
                <a:latin typeface="AdelleSans-Regular"/>
                <a:cs typeface="AdelleSans-Regular"/>
              </a:rPr>
              <a:t>NEW BRUNSWICK TOURISM, HERITAGE AND CULTURE</a:t>
            </a:r>
          </a:p>
          <a:p>
            <a:pPr algn="r" defTabSz="457200">
              <a:defRPr/>
            </a:pPr>
            <a:r>
              <a:rPr lang="en-CA" sz="800" dirty="0">
                <a:ln w="18415" cmpd="sng">
                  <a:noFill/>
                  <a:prstDash val="solid"/>
                </a:ln>
                <a:solidFill>
                  <a:srgbClr val="C00000"/>
                </a:solidFill>
                <a:effectLst>
                  <a:outerShdw blurRad="247650" dist="38100" dir="2700000" algn="tl" rotWithShape="0">
                    <a:srgbClr val="000000">
                      <a:alpha val="66000"/>
                    </a:srgbClr>
                  </a:outerShdw>
                </a:effectLst>
                <a:latin typeface="AdelleSans-Regular"/>
                <a:cs typeface="AdelleSans-Regular"/>
              </a:rPr>
              <a:t>A PROPOSAL BY </a:t>
            </a:r>
            <a:r>
              <a:rPr lang="fr-CA" sz="800" dirty="0">
                <a:ln w="18415" cmpd="sng">
                  <a:noFill/>
                  <a:prstDash val="solid"/>
                </a:ln>
                <a:solidFill>
                  <a:srgbClr val="C00000"/>
                </a:solidFill>
                <a:effectLst>
                  <a:outerShdw blurRad="247650" dist="38100" dir="2700000" algn="tl" rotWithShape="0">
                    <a:srgbClr val="000000">
                      <a:alpha val="66000"/>
                    </a:srgbClr>
                  </a:outerShdw>
                </a:effectLst>
                <a:latin typeface="AdelleSans-Regular"/>
                <a:cs typeface="AdelleSans-Regular"/>
              </a:rPr>
              <a:t>Ryan Jacobson</a:t>
            </a:r>
            <a:endParaRPr lang="en-US" sz="800" dirty="0">
              <a:solidFill>
                <a:srgbClr val="C00000"/>
              </a:solidFill>
              <a:effectLst>
                <a:outerShdw blurRad="247650" dist="38100" dir="2700000" algn="tl" rotWithShape="0">
                  <a:srgbClr val="000000">
                    <a:alpha val="66000"/>
                  </a:srgbClr>
                </a:outerShdw>
              </a:effectLst>
              <a:latin typeface="AdelleSans-Regular"/>
              <a:cs typeface="AdelleSans-Regular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351F356-BE37-4694-82B9-3D9AF8BFF8A4}"/>
              </a:ext>
            </a:extLst>
          </p:cNvPr>
          <p:cNvSpPr txBox="1"/>
          <p:nvPr/>
        </p:nvSpPr>
        <p:spPr>
          <a:xfrm>
            <a:off x="300011" y="825401"/>
            <a:ext cx="3255990" cy="4667945"/>
          </a:xfrm>
          <a:prstGeom prst="rect">
            <a:avLst/>
          </a:prstGeom>
          <a:solidFill>
            <a:schemeClr val="bg1">
              <a:alpha val="62000"/>
            </a:schemeClr>
          </a:solidFill>
          <a:effectLst>
            <a:softEdge rad="63500"/>
          </a:effectLst>
        </p:spPr>
        <p:txBody>
          <a:bodyPr wrap="square" rtlCol="0" anchor="ctr" anchorCtr="0">
            <a:spAutoFit/>
          </a:bodyPr>
          <a:lstStyle/>
          <a:p>
            <a:pPr algn="ctr" defTabSz="457200">
              <a:spcBef>
                <a:spcPts val="200"/>
              </a:spcBef>
            </a:pPr>
            <a:r>
              <a:rPr lang="en-US" sz="3800" dirty="0">
                <a:solidFill>
                  <a:srgbClr val="C00000"/>
                </a:solidFill>
              </a:rPr>
              <a:t>Sport and Recreation Branch </a:t>
            </a:r>
            <a:endParaRPr lang="en-US" sz="3800" dirty="0">
              <a:solidFill>
                <a:prstClr val="black"/>
              </a:solidFill>
            </a:endParaRPr>
          </a:p>
          <a:p>
            <a:pPr defTabSz="457200"/>
            <a:r>
              <a:rPr lang="en-US" sz="2000" dirty="0">
                <a:solidFill>
                  <a:srgbClr val="C00000"/>
                </a:solidFill>
              </a:rPr>
              <a:t>Strategic Goals</a:t>
            </a: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white">
                    <a:lumMod val="50000"/>
                  </a:prstClr>
                </a:solidFill>
              </a:rPr>
              <a:t>Active living</a:t>
            </a: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white">
                    <a:lumMod val="50000"/>
                  </a:prstClr>
                </a:solidFill>
              </a:rPr>
              <a:t>Inclusion and access</a:t>
            </a: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white">
                    <a:lumMod val="50000"/>
                  </a:prstClr>
                </a:solidFill>
              </a:rPr>
              <a:t>Supportive environments</a:t>
            </a: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white">
                    <a:lumMod val="50000"/>
                  </a:prstClr>
                </a:solidFill>
              </a:rPr>
              <a:t>Strengthening partnerships</a:t>
            </a: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white">
                    <a:lumMod val="50000"/>
                  </a:prstClr>
                </a:solidFill>
              </a:rPr>
              <a:t>Operational effectiveness </a:t>
            </a:r>
          </a:p>
          <a:p>
            <a:pPr defTabSz="457200">
              <a:spcBef>
                <a:spcPts val="200"/>
              </a:spcBef>
            </a:pPr>
            <a:endParaRPr lang="en-US" sz="2000" dirty="0">
              <a:solidFill>
                <a:srgbClr val="C00000"/>
              </a:solidFill>
            </a:endParaRPr>
          </a:p>
          <a:p>
            <a:pPr defTabSz="457200">
              <a:spcBef>
                <a:spcPts val="200"/>
              </a:spcBef>
            </a:pPr>
            <a:endParaRPr lang="en-CA" sz="2000" dirty="0">
              <a:solidFill>
                <a:prstClr val="white"/>
              </a:solidFill>
              <a:latin typeface="Adelle Sans Thin"/>
              <a:cs typeface="Adelle 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4216016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757241"/>
            <a:ext cx="9153525" cy="534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5540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NB_Canada_Reverse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5413" y="492453"/>
            <a:ext cx="1105595" cy="470393"/>
          </a:xfrm>
          <a:prstGeom prst="rect">
            <a:avLst/>
          </a:prstGeom>
          <a:effectLst>
            <a:outerShdw blurRad="222250" dir="2700000" algn="tl" rotWithShape="0">
              <a:srgbClr val="000000"/>
            </a:outerShdw>
          </a:effec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096686"/>
            <a:ext cx="8229600" cy="3586135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Eligible groups: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not-for profits</a:t>
            </a:r>
          </a:p>
          <a:p>
            <a:r>
              <a:rPr lang="en-US" sz="2600" dirty="0">
                <a:solidFill>
                  <a:schemeClr val="bg1">
                    <a:lumMod val="50000"/>
                  </a:schemeClr>
                </a:solidFill>
              </a:rPr>
              <a:t>Local sport and recreation groups</a:t>
            </a:r>
          </a:p>
          <a:p>
            <a:r>
              <a:rPr lang="en-US" sz="2600" dirty="0">
                <a:solidFill>
                  <a:schemeClr val="bg1">
                    <a:lumMod val="50000"/>
                  </a:schemeClr>
                </a:solidFill>
              </a:rPr>
              <a:t>Municipalities </a:t>
            </a:r>
          </a:p>
          <a:p>
            <a:r>
              <a:rPr lang="en-US" sz="2600" dirty="0">
                <a:solidFill>
                  <a:schemeClr val="bg1">
                    <a:lumMod val="50000"/>
                  </a:schemeClr>
                </a:solidFill>
              </a:rPr>
              <a:t>Regional Service Commissions</a:t>
            </a:r>
          </a:p>
          <a:p>
            <a:r>
              <a:rPr lang="en-US" sz="2600" dirty="0">
                <a:solidFill>
                  <a:schemeClr val="bg1">
                    <a:lumMod val="50000"/>
                  </a:schemeClr>
                </a:solidFill>
              </a:rPr>
              <a:t>Non-motorized Trail Groups</a:t>
            </a:r>
          </a:p>
          <a:p>
            <a:r>
              <a:rPr lang="en-US" sz="2600">
                <a:solidFill>
                  <a:schemeClr val="bg1">
                    <a:lumMod val="50000"/>
                  </a:schemeClr>
                </a:solidFill>
              </a:rPr>
              <a:t>Wellness Networks</a:t>
            </a:r>
            <a:endParaRPr lang="en-US" sz="260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US" sz="220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Ineligible groups: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for profit, educational  institutions, motorized groups, GNB agenci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7602" y="1133856"/>
            <a:ext cx="4368800" cy="1133856"/>
          </a:xfrm>
        </p:spPr>
        <p:txBody>
          <a:bodyPr>
            <a:normAutofit/>
          </a:bodyPr>
          <a:lstStyle/>
          <a:p>
            <a:pPr algn="ctr"/>
            <a:r>
              <a:rPr lang="en-US" sz="4000">
                <a:solidFill>
                  <a:srgbClr val="C00000"/>
                </a:solidFill>
              </a:rPr>
              <a:t>Our Partners</a:t>
            </a:r>
            <a:endParaRPr lang="en-US" sz="4000" dirty="0">
              <a:solidFill>
                <a:srgbClr val="C00000"/>
              </a:solidFill>
            </a:endParaRPr>
          </a:p>
        </p:txBody>
      </p:sp>
      <p:pic>
        <p:nvPicPr>
          <p:cNvPr id="6" name="Picture 5" descr="Headers_Sports_Hockey.jpg">
            <a:extLst>
              <a:ext uri="{FF2B5EF4-FFF2-40B4-BE49-F238E27FC236}">
                <a16:creationId xmlns:a16="http://schemas.microsoft.com/office/drawing/2014/main" id="{6E4265E7-2F9B-4311-8B77-ECCFC54753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13385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3ADAD02-9841-40A1-99EF-380A5AC1F058}"/>
              </a:ext>
            </a:extLst>
          </p:cNvPr>
          <p:cNvSpPr txBox="1"/>
          <p:nvPr/>
        </p:nvSpPr>
        <p:spPr>
          <a:xfrm>
            <a:off x="567867" y="6405114"/>
            <a:ext cx="796472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457200"/>
            <a:r>
              <a:rPr lang="fr-CA" sz="800" dirty="0">
                <a:solidFill>
                  <a:srgbClr val="C00000"/>
                </a:solidFill>
                <a:effectLst>
                  <a:outerShdw blurRad="247650" dist="38100" dir="2700000" algn="tl" rotWithShape="0">
                    <a:srgbClr val="000000">
                      <a:alpha val="66000"/>
                    </a:srgbClr>
                  </a:outerShdw>
                </a:effectLst>
                <a:latin typeface="AdelleSans-Regular"/>
                <a:cs typeface="AdelleSans-Regular"/>
              </a:rPr>
              <a:t>NEW BRUNSWICK TOURISM, HERITAGE AND CULTURE</a:t>
            </a:r>
          </a:p>
          <a:p>
            <a:pPr algn="r" defTabSz="457200">
              <a:defRPr/>
            </a:pPr>
            <a:r>
              <a:rPr lang="en-CA" sz="800" dirty="0">
                <a:ln w="18415" cmpd="sng">
                  <a:noFill/>
                  <a:prstDash val="solid"/>
                </a:ln>
                <a:solidFill>
                  <a:srgbClr val="C00000"/>
                </a:solidFill>
                <a:effectLst>
                  <a:outerShdw blurRad="247650" dist="38100" dir="2700000" algn="tl" rotWithShape="0">
                    <a:srgbClr val="000000">
                      <a:alpha val="66000"/>
                    </a:srgbClr>
                  </a:outerShdw>
                </a:effectLst>
                <a:latin typeface="AdelleSans-Regular"/>
                <a:cs typeface="AdelleSans-Regular"/>
              </a:rPr>
              <a:t>A PROPOSAL BY </a:t>
            </a:r>
            <a:r>
              <a:rPr lang="fr-CA" sz="800" dirty="0">
                <a:ln w="18415" cmpd="sng">
                  <a:noFill/>
                  <a:prstDash val="solid"/>
                </a:ln>
                <a:solidFill>
                  <a:srgbClr val="C00000"/>
                </a:solidFill>
                <a:effectLst>
                  <a:outerShdw blurRad="247650" dist="38100" dir="2700000" algn="tl" rotWithShape="0">
                    <a:srgbClr val="000000">
                      <a:alpha val="66000"/>
                    </a:srgbClr>
                  </a:outerShdw>
                </a:effectLst>
                <a:latin typeface="AdelleSans-Regular"/>
                <a:cs typeface="AdelleSans-Regular"/>
              </a:rPr>
              <a:t>Ryan Jacobson</a:t>
            </a:r>
            <a:endParaRPr lang="en-US" sz="800" dirty="0">
              <a:solidFill>
                <a:srgbClr val="C00000"/>
              </a:solidFill>
              <a:effectLst>
                <a:outerShdw blurRad="247650" dist="38100" dir="2700000" algn="tl" rotWithShape="0">
                  <a:srgbClr val="000000">
                    <a:alpha val="66000"/>
                  </a:srgbClr>
                </a:outerShdw>
              </a:effectLst>
              <a:latin typeface="AdelleSans-Regular"/>
              <a:cs typeface="AdelleSans-Regular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7AA98F1-7ECC-4A14-ABD8-1A64447E77F4}"/>
              </a:ext>
            </a:extLst>
          </p:cNvPr>
          <p:cNvCxnSpPr/>
          <p:nvPr/>
        </p:nvCxnSpPr>
        <p:spPr>
          <a:xfrm flipH="1">
            <a:off x="598716" y="6318727"/>
            <a:ext cx="7946572" cy="1"/>
          </a:xfrm>
          <a:prstGeom prst="line">
            <a:avLst/>
          </a:prstGeom>
          <a:ln>
            <a:solidFill>
              <a:srgbClr val="C00000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5738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NB_Canada_Reverse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5413" y="492453"/>
            <a:ext cx="1105595" cy="470393"/>
          </a:xfrm>
          <a:prstGeom prst="rect">
            <a:avLst/>
          </a:prstGeom>
          <a:effectLst>
            <a:glow rad="190500">
              <a:schemeClr val="bg2">
                <a:lumMod val="25000"/>
                <a:alpha val="11000"/>
              </a:schemeClr>
            </a:glow>
            <a:outerShdw blurRad="358775" dist="38100" dir="2700000" algn="tl" rotWithShape="0">
              <a:schemeClr val="bg2">
                <a:lumMod val="10000"/>
              </a:schemeClr>
            </a:outerShdw>
          </a:effec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76589"/>
            <a:ext cx="8229600" cy="4285673"/>
          </a:xfrm>
        </p:spPr>
        <p:txBody>
          <a:bodyPr>
            <a:normAutofit fontScale="92500" lnSpcReduction="10000"/>
          </a:bodyPr>
          <a:lstStyle/>
          <a:p>
            <a:r>
              <a:rPr lang="en-US">
                <a:solidFill>
                  <a:schemeClr val="bg1">
                    <a:lumMod val="50000"/>
                  </a:schemeClr>
                </a:solidFill>
              </a:rPr>
              <a:t>Organization development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600" dirty="0">
                <a:solidFill>
                  <a:schemeClr val="bg1">
                    <a:lumMod val="50000"/>
                  </a:schemeClr>
                </a:solidFill>
              </a:rPr>
              <a:t>Constitution, bylaws, policies, strategic planning, board plann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Leadership developmen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600" dirty="0">
                <a:solidFill>
                  <a:schemeClr val="bg1">
                    <a:lumMod val="50000"/>
                  </a:schemeClr>
                </a:solidFill>
              </a:rPr>
              <a:t>Coaches/leaders, officials, board member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thlete developmen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600" dirty="0">
                <a:solidFill>
                  <a:schemeClr val="bg1">
                    <a:lumMod val="50000"/>
                  </a:schemeClr>
                </a:solidFill>
              </a:rPr>
              <a:t>LTAD alignment, Athlete pathwa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Fostering and promoting partnership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Resource sharing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2093" y="1113167"/>
            <a:ext cx="4779818" cy="113385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/>
          <a:p>
            <a:r>
              <a:rPr lang="en-US" sz="4000" dirty="0">
                <a:solidFill>
                  <a:srgbClr val="C00000"/>
                </a:solidFill>
              </a:rPr>
              <a:t>Consultation Services</a:t>
            </a:r>
          </a:p>
        </p:txBody>
      </p:sp>
      <p:pic>
        <p:nvPicPr>
          <p:cNvPr id="6" name="Picture 5" descr="Headers_Sports_Golf1.jpg">
            <a:extLst>
              <a:ext uri="{FF2B5EF4-FFF2-40B4-BE49-F238E27FC236}">
                <a16:creationId xmlns:a16="http://schemas.microsoft.com/office/drawing/2014/main" id="{D87AA9CA-B8B8-44B6-AC5A-0096800EC0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13385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6B8C54F-EBC2-4A87-9E6F-387428AE72C0}"/>
              </a:ext>
            </a:extLst>
          </p:cNvPr>
          <p:cNvSpPr txBox="1"/>
          <p:nvPr/>
        </p:nvSpPr>
        <p:spPr>
          <a:xfrm>
            <a:off x="567867" y="6405114"/>
            <a:ext cx="796472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457200"/>
            <a:r>
              <a:rPr lang="fr-CA" sz="800" dirty="0">
                <a:solidFill>
                  <a:srgbClr val="C00000"/>
                </a:solidFill>
                <a:effectLst>
                  <a:outerShdw blurRad="247650" dist="38100" dir="2700000" algn="tl" rotWithShape="0">
                    <a:srgbClr val="000000">
                      <a:alpha val="66000"/>
                    </a:srgbClr>
                  </a:outerShdw>
                </a:effectLst>
                <a:latin typeface="AdelleSans-Regular"/>
                <a:cs typeface="AdelleSans-Regular"/>
              </a:rPr>
              <a:t>NEW BRUNSWICK TOURISM, HERITAGE AND CULTURE</a:t>
            </a:r>
          </a:p>
          <a:p>
            <a:pPr algn="r" defTabSz="457200">
              <a:defRPr/>
            </a:pPr>
            <a:r>
              <a:rPr lang="en-CA" sz="800" dirty="0">
                <a:ln w="18415" cmpd="sng">
                  <a:noFill/>
                  <a:prstDash val="solid"/>
                </a:ln>
                <a:solidFill>
                  <a:srgbClr val="C00000"/>
                </a:solidFill>
                <a:effectLst>
                  <a:outerShdw blurRad="247650" dist="38100" dir="2700000" algn="tl" rotWithShape="0">
                    <a:srgbClr val="000000">
                      <a:alpha val="66000"/>
                    </a:srgbClr>
                  </a:outerShdw>
                </a:effectLst>
                <a:latin typeface="AdelleSans-Regular"/>
                <a:cs typeface="AdelleSans-Regular"/>
              </a:rPr>
              <a:t>A PROPOSAL BY </a:t>
            </a:r>
            <a:r>
              <a:rPr lang="fr-CA" sz="800" dirty="0">
                <a:ln w="18415" cmpd="sng">
                  <a:noFill/>
                  <a:prstDash val="solid"/>
                </a:ln>
                <a:solidFill>
                  <a:srgbClr val="C00000"/>
                </a:solidFill>
                <a:effectLst>
                  <a:outerShdw blurRad="247650" dist="38100" dir="2700000" algn="tl" rotWithShape="0">
                    <a:srgbClr val="000000">
                      <a:alpha val="66000"/>
                    </a:srgbClr>
                  </a:outerShdw>
                </a:effectLst>
                <a:latin typeface="AdelleSans-Regular"/>
                <a:cs typeface="AdelleSans-Regular"/>
              </a:rPr>
              <a:t>Ryan Jacobson</a:t>
            </a:r>
            <a:endParaRPr lang="en-US" sz="800" dirty="0">
              <a:solidFill>
                <a:srgbClr val="C00000"/>
              </a:solidFill>
              <a:effectLst>
                <a:outerShdw blurRad="247650" dist="38100" dir="2700000" algn="tl" rotWithShape="0">
                  <a:srgbClr val="000000">
                    <a:alpha val="66000"/>
                  </a:srgbClr>
                </a:outerShdw>
              </a:effectLst>
              <a:latin typeface="AdelleSans-Regular"/>
              <a:cs typeface="AdelleSans-Regular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A65F8F9-6983-4BB9-9E82-785A5467456C}"/>
              </a:ext>
            </a:extLst>
          </p:cNvPr>
          <p:cNvCxnSpPr/>
          <p:nvPr/>
        </p:nvCxnSpPr>
        <p:spPr>
          <a:xfrm flipH="1">
            <a:off x="598716" y="6318727"/>
            <a:ext cx="7946572" cy="1"/>
          </a:xfrm>
          <a:prstGeom prst="line">
            <a:avLst/>
          </a:prstGeom>
          <a:ln>
            <a:solidFill>
              <a:srgbClr val="C00000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8102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Headers_Sports_Curling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439"/>
            <a:ext cx="9144000" cy="1133856"/>
          </a:xfrm>
          <a:prstGeom prst="rect">
            <a:avLst/>
          </a:prstGeom>
        </p:spPr>
      </p:pic>
      <p:pic>
        <p:nvPicPr>
          <p:cNvPr id="9" name="Picture 8" descr="NB_Canada_Reverse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5413" y="492453"/>
            <a:ext cx="1105595" cy="470393"/>
          </a:xfrm>
          <a:prstGeom prst="rect">
            <a:avLst/>
          </a:prstGeom>
          <a:effectLst>
            <a:glow rad="190500">
              <a:schemeClr val="bg2">
                <a:lumMod val="25000"/>
                <a:alpha val="11000"/>
              </a:schemeClr>
            </a:glow>
            <a:outerShdw blurRad="358775" dist="38100" dir="2700000" algn="tl" rotWithShape="0">
              <a:schemeClr val="bg2">
                <a:lumMod val="10000"/>
              </a:schemeClr>
            </a:outerShdw>
          </a:effec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458395"/>
            <a:ext cx="8229600" cy="3484563"/>
          </a:xfrm>
        </p:spPr>
        <p:txBody>
          <a:bodyPr>
            <a:normAutofit fontScale="92500" lnSpcReduction="2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>
                    <a:lumMod val="50000"/>
                  </a:schemeClr>
                </a:solidFill>
              </a:rPr>
              <a:t>Regional Grant Program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chemeClr val="bg1">
                    <a:lumMod val="50000"/>
                  </a:schemeClr>
                </a:solidFill>
              </a:rPr>
              <a:t>Organization developmen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chemeClr val="bg1">
                    <a:lumMod val="50000"/>
                  </a:schemeClr>
                </a:solidFill>
              </a:rPr>
              <a:t>Leadership developmen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chemeClr val="bg1">
                    <a:lumMod val="50000"/>
                  </a:schemeClr>
                </a:solidFill>
              </a:rPr>
              <a:t>Long Term Athlete Development (LTAD)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chemeClr val="bg1">
                    <a:lumMod val="50000"/>
                  </a:schemeClr>
                </a:solidFill>
              </a:rPr>
              <a:t>Games Hosting (multisport)</a:t>
            </a:r>
          </a:p>
          <a:p>
            <a:pPr marL="457200" lvl="1" indent="-4572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Regional Profile Submission (multi-project grant)</a:t>
            </a:r>
          </a:p>
          <a:p>
            <a:pPr marL="457200" lvl="1" indent="-4572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ctive Communities Grant Program </a:t>
            </a:r>
          </a:p>
          <a:p>
            <a:pPr marL="457200" lvl="1" indent="-4572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Go NB- Increase Youth Physical Literacy</a:t>
            </a:r>
          </a:p>
          <a:p>
            <a:pPr marL="457200" lvl="1" indent="-4572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Trail Infrastructure Fund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1864" y="1324519"/>
            <a:ext cx="7301345" cy="113385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pPr algn="ctr"/>
            <a:r>
              <a:rPr lang="en-US" sz="4000" dirty="0">
                <a:solidFill>
                  <a:srgbClr val="C00000"/>
                </a:solidFill>
              </a:rPr>
              <a:t>Regional Funding Opportuniti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D2DF23-DAB9-41F7-82AE-EC82FB83EC65}"/>
              </a:ext>
            </a:extLst>
          </p:cNvPr>
          <p:cNvSpPr txBox="1"/>
          <p:nvPr/>
        </p:nvSpPr>
        <p:spPr>
          <a:xfrm>
            <a:off x="567867" y="6405114"/>
            <a:ext cx="796472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457200"/>
            <a:r>
              <a:rPr lang="fr-CA" sz="800" dirty="0">
                <a:solidFill>
                  <a:srgbClr val="C00000"/>
                </a:solidFill>
                <a:effectLst>
                  <a:outerShdw blurRad="247650" dist="38100" dir="2700000" algn="tl" rotWithShape="0">
                    <a:srgbClr val="000000">
                      <a:alpha val="66000"/>
                    </a:srgbClr>
                  </a:outerShdw>
                </a:effectLst>
                <a:latin typeface="AdelleSans-Regular"/>
                <a:cs typeface="AdelleSans-Regular"/>
              </a:rPr>
              <a:t>NEW BRUNSWICK TOURISM, HERITAGE AND CULTURE</a:t>
            </a:r>
          </a:p>
          <a:p>
            <a:pPr algn="r" defTabSz="457200">
              <a:defRPr/>
            </a:pPr>
            <a:r>
              <a:rPr lang="en-CA" sz="800" dirty="0">
                <a:ln w="18415" cmpd="sng">
                  <a:noFill/>
                  <a:prstDash val="solid"/>
                </a:ln>
                <a:solidFill>
                  <a:srgbClr val="C00000"/>
                </a:solidFill>
                <a:effectLst>
                  <a:outerShdw blurRad="247650" dist="38100" dir="2700000" algn="tl" rotWithShape="0">
                    <a:srgbClr val="000000">
                      <a:alpha val="66000"/>
                    </a:srgbClr>
                  </a:outerShdw>
                </a:effectLst>
                <a:latin typeface="AdelleSans-Regular"/>
                <a:cs typeface="AdelleSans-Regular"/>
              </a:rPr>
              <a:t>A PROPOSAL BY </a:t>
            </a:r>
            <a:r>
              <a:rPr lang="fr-CA" sz="800" dirty="0">
                <a:ln w="18415" cmpd="sng">
                  <a:noFill/>
                  <a:prstDash val="solid"/>
                </a:ln>
                <a:solidFill>
                  <a:srgbClr val="C00000"/>
                </a:solidFill>
                <a:effectLst>
                  <a:outerShdw blurRad="247650" dist="38100" dir="2700000" algn="tl" rotWithShape="0">
                    <a:srgbClr val="000000">
                      <a:alpha val="66000"/>
                    </a:srgbClr>
                  </a:outerShdw>
                </a:effectLst>
                <a:latin typeface="AdelleSans-Regular"/>
                <a:cs typeface="AdelleSans-Regular"/>
              </a:rPr>
              <a:t>Ryan Jacobson</a:t>
            </a:r>
            <a:endParaRPr lang="en-US" sz="800" dirty="0">
              <a:solidFill>
                <a:srgbClr val="C00000"/>
              </a:solidFill>
              <a:effectLst>
                <a:outerShdw blurRad="247650" dist="38100" dir="2700000" algn="tl" rotWithShape="0">
                  <a:srgbClr val="000000">
                    <a:alpha val="66000"/>
                  </a:srgbClr>
                </a:outerShdw>
              </a:effectLst>
              <a:latin typeface="AdelleSans-Regular"/>
              <a:cs typeface="AdelleSans-Regular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D3DFE2-1378-47B6-93C1-E982C6550CE0}"/>
              </a:ext>
            </a:extLst>
          </p:cNvPr>
          <p:cNvCxnSpPr/>
          <p:nvPr/>
        </p:nvCxnSpPr>
        <p:spPr>
          <a:xfrm flipH="1">
            <a:off x="598716" y="6318727"/>
            <a:ext cx="7946572" cy="1"/>
          </a:xfrm>
          <a:prstGeom prst="line">
            <a:avLst/>
          </a:prstGeom>
          <a:ln>
            <a:solidFill>
              <a:srgbClr val="C00000"/>
            </a:solidFill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97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11E087-6346-4358-87F4-5D12F1CC8B2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2590800"/>
            <a:ext cx="8229600" cy="1143000"/>
          </a:xfrm>
        </p:spPr>
        <p:txBody>
          <a:bodyPr/>
          <a:lstStyle/>
          <a:p>
            <a:pPr algn="ctr"/>
            <a:r>
              <a:rPr lang="en-US" dirty="0"/>
              <a:t>New Brunswick Health Counci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457200" y="3581400"/>
            <a:ext cx="8229600" cy="657224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400" dirty="0"/>
              <a:t>Michelina Mancuso</a:t>
            </a:r>
          </a:p>
        </p:txBody>
      </p:sp>
    </p:spTree>
    <p:extLst>
      <p:ext uri="{BB962C8B-B14F-4D97-AF65-F5344CB8AC3E}">
        <p14:creationId xmlns:p14="http://schemas.microsoft.com/office/powerpoint/2010/main" val="3966712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7E4F2A-2734-4EFB-B7C7-42FA005E448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3314" name="Picture 2" descr="S:\CSNB_NBHC\PLAN &amp; OPER\Planification et Opérations 2019-2020\Mandate Material\mandatediagram-general2-en.png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17"/>
          <a:stretch/>
        </p:blipFill>
        <p:spPr bwMode="auto">
          <a:xfrm>
            <a:off x="129537" y="844393"/>
            <a:ext cx="8884926" cy="5970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3417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75000">
        <p:fade/>
      </p:transition>
    </mc:Choice>
    <mc:Fallback xmlns="">
      <p:transition spd="med" advClick="0" advTm="75000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7E4F2A-2734-4EFB-B7C7-42FA005E448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1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3314" name="Picture 2" descr="S:\CSNB_NBHC\PLAN &amp; OPER\Planification et Opérations 2019-2020\Mandate Material\mandatediagram-general2-en.png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6715" y="477673"/>
            <a:ext cx="8884926" cy="6380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03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5724" y="750630"/>
            <a:ext cx="5757102" cy="5542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69786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75000">
        <p:fade/>
      </p:transition>
    </mc:Choice>
    <mc:Fallback xmlns="">
      <p:transition spd="med" advClick="0" advTm="75000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57200" y="557213"/>
            <a:ext cx="8229600" cy="1143000"/>
          </a:xfrm>
        </p:spPr>
        <p:txBody>
          <a:bodyPr/>
          <a:lstStyle/>
          <a:p>
            <a:r>
              <a:rPr lang="en-US" altLang="en-US"/>
              <a:t>Community Profiles</a:t>
            </a:r>
            <a:br>
              <a:rPr lang="en-US" altLang="en-US" b="1"/>
            </a:br>
            <a:r>
              <a:rPr lang="en-US" altLang="en-US" sz="2000"/>
              <a:t>released June 2017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  <p:custDataLst>
              <p:tags r:id="rId2"/>
            </p:custDataLst>
          </p:nvPr>
        </p:nvSpPr>
        <p:spPr>
          <a:xfrm>
            <a:off x="611188" y="1755775"/>
            <a:ext cx="3733800" cy="4686300"/>
          </a:xfrm>
        </p:spPr>
        <p:txBody>
          <a:bodyPr>
            <a:normAutofit lnSpcReduction="10000"/>
          </a:bodyPr>
          <a:lstStyle/>
          <a:p>
            <a:pPr>
              <a:defRPr/>
            </a:pPr>
            <a:r>
              <a:rPr lang="en-US" b="1" dirty="0"/>
              <a:t>33 communities</a:t>
            </a:r>
          </a:p>
          <a:p>
            <a:pPr marL="0" indent="0">
              <a:buFont typeface="Arial" charset="0"/>
              <a:buNone/>
              <a:defRPr/>
            </a:pPr>
            <a:endParaRPr lang="en-US" b="1" dirty="0"/>
          </a:p>
          <a:p>
            <a:pPr>
              <a:defRPr/>
            </a:pPr>
            <a:r>
              <a:rPr lang="en-US" b="1" dirty="0"/>
              <a:t>~300 indicators </a:t>
            </a:r>
            <a:r>
              <a:rPr lang="en-US" sz="2000" dirty="0"/>
              <a:t>(children / youth / adults / seniors)</a:t>
            </a:r>
          </a:p>
          <a:p>
            <a:pPr marL="0" indent="0">
              <a:buFont typeface="Arial" charset="0"/>
              <a:buNone/>
              <a:defRPr/>
            </a:pPr>
            <a:endParaRPr lang="en-US" sz="2000" dirty="0"/>
          </a:p>
          <a:p>
            <a:pPr>
              <a:defRPr/>
            </a:pPr>
            <a:r>
              <a:rPr lang="en-US" b="1" dirty="0"/>
              <a:t>Information</a:t>
            </a:r>
            <a:r>
              <a:rPr lang="en-US" dirty="0"/>
              <a:t>            (</a:t>
            </a:r>
            <a:r>
              <a:rPr lang="en-US" b="1" dirty="0"/>
              <a:t>30 Sources</a:t>
            </a:r>
            <a:r>
              <a:rPr lang="en-US" dirty="0"/>
              <a:t>)</a:t>
            </a:r>
            <a:endParaRPr lang="en-US" sz="2000" dirty="0"/>
          </a:p>
          <a:p>
            <a:pPr lvl="1">
              <a:defRPr/>
            </a:pPr>
            <a:r>
              <a:rPr lang="en-US" dirty="0"/>
              <a:t>Contextual</a:t>
            </a:r>
          </a:p>
          <a:p>
            <a:pPr lvl="1">
              <a:defRPr/>
            </a:pPr>
            <a:r>
              <a:rPr lang="en-US" dirty="0"/>
              <a:t>Determinants of health</a:t>
            </a:r>
          </a:p>
          <a:p>
            <a:pPr lvl="1">
              <a:defRPr/>
            </a:pPr>
            <a:r>
              <a:rPr lang="en-US" dirty="0"/>
              <a:t>Health outcomes</a:t>
            </a:r>
            <a:endParaRPr lang="en-US" sz="1800" b="1" dirty="0"/>
          </a:p>
          <a:p>
            <a:pPr marL="457200" lvl="1" indent="0">
              <a:buFont typeface="Arial" charset="0"/>
              <a:buNone/>
              <a:defRPr/>
            </a:pPr>
            <a:endParaRPr lang="en-US" sz="1800" b="1" dirty="0"/>
          </a:p>
          <a:p>
            <a:pPr marL="457200" lvl="1" indent="0">
              <a:buFont typeface="Arial" charset="0"/>
              <a:buNone/>
              <a:defRPr/>
            </a:pPr>
            <a:r>
              <a:rPr lang="en-US" sz="1800" b="1" dirty="0"/>
              <a:t>(3 year cycle)</a:t>
            </a:r>
          </a:p>
          <a:p>
            <a:pPr lvl="1">
              <a:defRPr/>
            </a:pPr>
            <a:endParaRPr lang="en-US" dirty="0"/>
          </a:p>
          <a:p>
            <a:pPr lvl="1">
              <a:defRPr/>
            </a:pPr>
            <a:endParaRPr lang="en-US" sz="1000" dirty="0">
              <a:latin typeface="+mj-lt"/>
            </a:endParaRPr>
          </a:p>
        </p:txBody>
      </p:sp>
      <p:sp>
        <p:nvSpPr>
          <p:cNvPr id="20484" name="TextBox 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859338" y="6238895"/>
            <a:ext cx="411480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000">
                <a:solidFill>
                  <a:srgbClr val="7F7F7F"/>
                </a:solidFill>
                <a:latin typeface="Trebuchet MS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rgbClr val="7F7F7F"/>
                </a:solidFill>
                <a:latin typeface="Trebuchet MS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rgbClr val="7F7F7F"/>
                </a:solidFill>
                <a:latin typeface="Trebuchet MS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rgbClr val="7F7F7F"/>
                </a:solidFill>
                <a:latin typeface="Trebuchet MS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rgbClr val="7F7F7F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7F7F7F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7F7F7F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7F7F7F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rgbClr val="7F7F7F"/>
                </a:solidFill>
                <a:latin typeface="Trebuchet MS" pitchFamily="34" charset="0"/>
              </a:defRPr>
            </a:lvl9pPr>
          </a:lstStyle>
          <a:p>
            <a:pPr defTabSz="457200" eaLnBrk="1" hangingPunct="1">
              <a:spcBef>
                <a:spcPct val="0"/>
              </a:spcBef>
              <a:buFontTx/>
              <a:buNone/>
            </a:pPr>
            <a:r>
              <a:rPr lang="en-US" altLang="en-US" sz="2200">
                <a:solidFill>
                  <a:srgbClr val="000000"/>
                </a:solidFill>
                <a:latin typeface="Calibri" pitchFamily="34" charset="0"/>
                <a:hlinkClick r:id="rId6"/>
              </a:rPr>
              <a:t>www.nbhc.ca/community-profiles</a:t>
            </a:r>
            <a:endParaRPr lang="en-US" altLang="en-US" sz="2200">
              <a:solidFill>
                <a:srgbClr val="000000"/>
              </a:solidFill>
              <a:latin typeface="Calibri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7"/>
          <a:srcRect l="32723" t="14657" r="33638" b="4553"/>
          <a:stretch/>
        </p:blipFill>
        <p:spPr bwMode="auto">
          <a:xfrm>
            <a:off x="5059364" y="1341439"/>
            <a:ext cx="3716337" cy="4833937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4485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75000">
        <p:fade/>
      </p:transition>
    </mc:Choice>
    <mc:Fallback xmlns="">
      <p:transition spd="med" advClick="0" advTm="75000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 rtlCol="0">
            <a:noAutofit/>
          </a:bodyPr>
          <a:lstStyle/>
          <a:p>
            <a:pPr>
              <a:defRPr/>
            </a:pPr>
            <a:r>
              <a:rPr lang="en-US" dirty="0">
                <a:ea typeface="MS PGothic"/>
              </a:rPr>
              <a:t>Questions? </a:t>
            </a:r>
          </a:p>
        </p:txBody>
      </p:sp>
      <p:sp>
        <p:nvSpPr>
          <p:cNvPr id="39939" name="Content Placeholder 1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/>
        <p:txBody>
          <a:bodyPr>
            <a:noAutofit/>
          </a:bodyPr>
          <a:lstStyle/>
          <a:p>
            <a:pPr eaLnBrk="1" hangingPunct="1">
              <a:buFont typeface="Arial" pitchFamily="34" charset="0"/>
              <a:buNone/>
            </a:pPr>
            <a:r>
              <a:rPr lang="en-US" altLang="en-US" sz="1800" b="1" dirty="0">
                <a:ea typeface="MS PGothic" pitchFamily="34" charset="-128"/>
                <a:cs typeface="Myriad Pro"/>
              </a:rPr>
              <a:t>Michelina Mancuso</a:t>
            </a:r>
          </a:p>
          <a:p>
            <a:pPr>
              <a:buNone/>
            </a:pPr>
            <a:r>
              <a:rPr lang="en-US" altLang="en-US" sz="1800" dirty="0" err="1">
                <a:ea typeface="MS PGothic" pitchFamily="34" charset="-128"/>
                <a:cs typeface="Myriad Pro"/>
              </a:rPr>
              <a:t>Directrice</a:t>
            </a:r>
            <a:r>
              <a:rPr lang="en-US" altLang="en-US" sz="1800" dirty="0">
                <a:ea typeface="MS PGothic" pitchFamily="34" charset="-128"/>
                <a:cs typeface="Myriad Pro"/>
              </a:rPr>
              <a:t> </a:t>
            </a:r>
            <a:r>
              <a:rPr lang="en-US" altLang="en-US" sz="1800" dirty="0" err="1">
                <a:ea typeface="MS PGothic" pitchFamily="34" charset="-128"/>
                <a:cs typeface="Myriad Pro"/>
              </a:rPr>
              <a:t>exécutive</a:t>
            </a:r>
            <a:r>
              <a:rPr lang="en-US" altLang="en-US" sz="1800" dirty="0">
                <a:ea typeface="MS PGothic" pitchFamily="34" charset="-128"/>
                <a:cs typeface="Myriad Pro"/>
              </a:rPr>
              <a:t> de </a:t>
            </a:r>
            <a:r>
              <a:rPr lang="en-US" altLang="en-US" sz="1800" dirty="0" err="1">
                <a:ea typeface="MS PGothic" pitchFamily="34" charset="-128"/>
                <a:cs typeface="Myriad Pro"/>
              </a:rPr>
              <a:t>l’évaluation</a:t>
            </a:r>
            <a:r>
              <a:rPr lang="en-US" altLang="en-US" sz="1800" dirty="0">
                <a:ea typeface="MS PGothic" pitchFamily="34" charset="-128"/>
                <a:cs typeface="Myriad Pro"/>
              </a:rPr>
              <a:t> du </a:t>
            </a:r>
            <a:r>
              <a:rPr lang="en-US" altLang="en-US" sz="1800" dirty="0" err="1">
                <a:ea typeface="MS PGothic" pitchFamily="34" charset="-128"/>
                <a:cs typeface="Myriad Pro"/>
              </a:rPr>
              <a:t>rendement</a:t>
            </a:r>
            <a:endParaRPr lang="en-US" altLang="en-US" sz="1800" dirty="0">
              <a:ea typeface="MS PGothic" pitchFamily="34" charset="-128"/>
              <a:cs typeface="Myriad Pro"/>
            </a:endParaRPr>
          </a:p>
          <a:p>
            <a:pPr eaLnBrk="1" hangingPunct="1">
              <a:buFont typeface="Arial" pitchFamily="34" charset="0"/>
              <a:buNone/>
            </a:pPr>
            <a:r>
              <a:rPr lang="en-US" altLang="en-US" sz="1800" dirty="0">
                <a:ea typeface="MS PGothic" pitchFamily="34" charset="-128"/>
                <a:cs typeface="Myriad Pro"/>
              </a:rPr>
              <a:t>Executive Director of Performance Measurement</a:t>
            </a:r>
          </a:p>
          <a:p>
            <a:pPr eaLnBrk="1" hangingPunct="1">
              <a:buFont typeface="Arial" pitchFamily="34" charset="0"/>
              <a:buNone/>
            </a:pPr>
            <a:r>
              <a:rPr lang="en-US" altLang="en-US" sz="1800" dirty="0">
                <a:ea typeface="MS PGothic" pitchFamily="34" charset="-128"/>
                <a:cs typeface="Myriad Pro"/>
                <a:hlinkClick r:id="rId5"/>
              </a:rPr>
              <a:t>Michelina.Mancuso@csnb.ca</a:t>
            </a:r>
            <a:endParaRPr lang="en-US" altLang="en-US" sz="1800" dirty="0">
              <a:ea typeface="MS PGothic" pitchFamily="34" charset="-128"/>
              <a:cs typeface="Myriad Pro"/>
            </a:endParaRPr>
          </a:p>
          <a:p>
            <a:pPr eaLnBrk="1" hangingPunct="1">
              <a:buFont typeface="Arial" pitchFamily="34" charset="0"/>
              <a:buNone/>
            </a:pPr>
            <a:r>
              <a:rPr lang="en-US" altLang="en-US" sz="1800" dirty="0">
                <a:ea typeface="MS PGothic" pitchFamily="34" charset="-128"/>
                <a:cs typeface="Myriad Pro"/>
                <a:hlinkClick r:id="rId6"/>
              </a:rPr>
              <a:t>Michelina.mancuso@nbhc.ca</a:t>
            </a:r>
            <a:endParaRPr lang="en-US" altLang="en-US" sz="1800" dirty="0">
              <a:ea typeface="MS PGothic" pitchFamily="34" charset="-128"/>
              <a:cs typeface="Myriad Pro"/>
            </a:endParaRPr>
          </a:p>
          <a:p>
            <a:pPr eaLnBrk="1" hangingPunct="1">
              <a:buFont typeface="Arial" pitchFamily="34" charset="0"/>
              <a:buNone/>
            </a:pPr>
            <a:endParaRPr lang="en-US" altLang="en-US" sz="1800" dirty="0">
              <a:ea typeface="MS PGothic" pitchFamily="34" charset="-128"/>
              <a:cs typeface="Myriad Pro"/>
            </a:endParaRPr>
          </a:p>
          <a:p>
            <a:pPr eaLnBrk="1" hangingPunct="1">
              <a:buFont typeface="Arial" pitchFamily="34" charset="0"/>
              <a:buNone/>
            </a:pPr>
            <a:r>
              <a:rPr lang="en-US" altLang="en-US" sz="1800" dirty="0">
                <a:ea typeface="MS PGothic" pitchFamily="34" charset="-128"/>
                <a:cs typeface="Myriad Pro"/>
              </a:rPr>
              <a:t>1.877.225.2521</a:t>
            </a:r>
          </a:p>
          <a:p>
            <a:pPr>
              <a:buNone/>
            </a:pPr>
            <a:r>
              <a:rPr lang="en-US" altLang="en-US" sz="1800" b="1" dirty="0">
                <a:solidFill>
                  <a:srgbClr val="C00000"/>
                </a:solidFill>
                <a:ea typeface="MS PGothic" pitchFamily="34" charset="-128"/>
                <a:cs typeface="Myriad Pro"/>
                <a:hlinkClick r:id="rId7"/>
              </a:rPr>
              <a:t>www.csnb.ca</a:t>
            </a:r>
            <a:r>
              <a:rPr lang="en-US" altLang="en-US" sz="1800" dirty="0">
                <a:ea typeface="MS PGothic" pitchFamily="34" charset="-128"/>
                <a:cs typeface="Myriad Pro"/>
              </a:rPr>
              <a:t> </a:t>
            </a:r>
          </a:p>
          <a:p>
            <a:pPr eaLnBrk="1" hangingPunct="1">
              <a:buFont typeface="Arial" pitchFamily="34" charset="0"/>
              <a:buNone/>
            </a:pPr>
            <a:r>
              <a:rPr lang="en-US" altLang="en-US" sz="1800" b="1" dirty="0">
                <a:solidFill>
                  <a:srgbClr val="C00000"/>
                </a:solidFill>
                <a:ea typeface="MS PGothic" pitchFamily="34" charset="-128"/>
                <a:cs typeface="Myriad Pro"/>
                <a:hlinkClick r:id="rId8"/>
              </a:rPr>
              <a:t>www.nbhc.ca</a:t>
            </a:r>
            <a:r>
              <a:rPr lang="en-US" altLang="en-US" sz="1800" dirty="0">
                <a:ea typeface="MS PGothic" pitchFamily="34" charset="-128"/>
                <a:cs typeface="Myriad Pro"/>
              </a:rPr>
              <a:t> </a:t>
            </a:r>
          </a:p>
          <a:p>
            <a:pPr eaLnBrk="1" hangingPunct="1">
              <a:buFont typeface="Arial" pitchFamily="34" charset="0"/>
              <a:buNone/>
            </a:pPr>
            <a:endParaRPr lang="en-US" altLang="en-US" sz="2000" dirty="0">
              <a:ea typeface="MS PGothic" pitchFamily="34" charset="-128"/>
              <a:cs typeface="Myriad Pro"/>
            </a:endParaRPr>
          </a:p>
          <a:p>
            <a:pPr eaLnBrk="1" hangingPunct="1">
              <a:buFont typeface="Arial" pitchFamily="34" charset="0"/>
              <a:buNone/>
            </a:pPr>
            <a:endParaRPr lang="en-US" altLang="en-US" sz="2000" dirty="0">
              <a:ea typeface="MS PGothic" pitchFamily="34" charset="-128"/>
              <a:cs typeface="Myriad Pro"/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7904" y="2855975"/>
            <a:ext cx="4896544" cy="3693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4369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75000">
        <p:fade/>
      </p:transition>
    </mc:Choice>
    <mc:Fallback xmlns="">
      <p:transition spd="med" advClick="0" advTm="75000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Cover EN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457200" y="4787900"/>
            <a:ext cx="8229600" cy="1869666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b="1" i="1" dirty="0">
                <a:solidFill>
                  <a:prstClr val="black"/>
                </a:solidFill>
              </a:rPr>
              <a:t>Wellness Branch</a:t>
            </a:r>
          </a:p>
          <a:p>
            <a:r>
              <a:rPr lang="en-CA" sz="3200" b="1" i="1" dirty="0">
                <a:solidFill>
                  <a:prstClr val="black"/>
                </a:solidFill>
              </a:rPr>
              <a:t>Social Development</a:t>
            </a:r>
            <a:endParaRPr lang="en-CA" sz="3200" dirty="0">
              <a:solidFill>
                <a:prstClr val="black"/>
              </a:solidFill>
            </a:endParaRPr>
          </a:p>
          <a:p>
            <a:endParaRPr lang="en-US" sz="3200" dirty="0">
              <a:solidFill>
                <a:srgbClr val="51AEFF"/>
              </a:solidFill>
            </a:endParaRPr>
          </a:p>
        </p:txBody>
      </p:sp>
      <p:pic>
        <p:nvPicPr>
          <p:cNvPr id="4" name="Imag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301" y="6067217"/>
            <a:ext cx="1861820" cy="703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491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1" y="1112582"/>
            <a:ext cx="3298136" cy="3200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accent1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0735" y="197243"/>
            <a:ext cx="5715000" cy="657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accent1"/>
                  </a:outerShdw>
                </a:effectLst>
              </a14:hiddenEffects>
            </a:ext>
          </a:extLst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154" y="1060561"/>
            <a:ext cx="5046446" cy="3304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067" name="Straight Connector 2066"/>
          <p:cNvCxnSpPr/>
          <p:nvPr/>
        </p:nvCxnSpPr>
        <p:spPr>
          <a:xfrm>
            <a:off x="1450181" y="2358418"/>
            <a:ext cx="0" cy="100053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1842154" y="2358417"/>
            <a:ext cx="0" cy="100053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0" name="Straight Connector 2069"/>
          <p:cNvCxnSpPr/>
          <p:nvPr/>
        </p:nvCxnSpPr>
        <p:spPr>
          <a:xfrm>
            <a:off x="1450181" y="2458451"/>
            <a:ext cx="39319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2" name="Straight Connector 2071"/>
          <p:cNvCxnSpPr/>
          <p:nvPr/>
        </p:nvCxnSpPr>
        <p:spPr>
          <a:xfrm>
            <a:off x="1845754" y="2524560"/>
            <a:ext cx="0" cy="2416988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5" name="Straight Connector 2074"/>
          <p:cNvCxnSpPr/>
          <p:nvPr/>
        </p:nvCxnSpPr>
        <p:spPr>
          <a:xfrm>
            <a:off x="1678781" y="2458471"/>
            <a:ext cx="0" cy="66109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7" name="Straight Connector 2076"/>
          <p:cNvCxnSpPr/>
          <p:nvPr/>
        </p:nvCxnSpPr>
        <p:spPr>
          <a:xfrm>
            <a:off x="1678791" y="2524560"/>
            <a:ext cx="166973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880593" y="4953513"/>
            <a:ext cx="7255841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880583" y="4953513"/>
            <a:ext cx="0" cy="15240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AutoShape 14"/>
          <p:cNvSpPr>
            <a:spLocks noChangeArrowheads="1"/>
          </p:cNvSpPr>
          <p:nvPr/>
        </p:nvSpPr>
        <p:spPr bwMode="auto">
          <a:xfrm>
            <a:off x="30442" y="5125965"/>
            <a:ext cx="1700303" cy="811669"/>
          </a:xfrm>
          <a:prstGeom prst="roundRect">
            <a:avLst>
              <a:gd name="adj" fmla="val 16667"/>
            </a:avLst>
          </a:prstGeom>
          <a:solidFill>
            <a:srgbClr val="66CCFF">
              <a:alpha val="44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altLang="en-US" sz="1000" b="1" dirty="0">
                <a:solidFill>
                  <a:srgbClr val="000000"/>
                </a:solidFill>
                <a:cs typeface="Arial" pitchFamily="34" charset="0"/>
              </a:rPr>
              <a:t>Partnership and Collaboration –</a:t>
            </a:r>
            <a:endParaRPr lang="en-CA" altLang="en-US" sz="1000" dirty="0">
              <a:solidFill>
                <a:srgbClr val="000000"/>
              </a:solidFill>
              <a:cs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altLang="en-US" sz="1000" dirty="0">
                <a:solidFill>
                  <a:srgbClr val="000000"/>
                </a:solidFill>
                <a:cs typeface="Arial" pitchFamily="34" charset="0"/>
              </a:rPr>
              <a:t>Join, form relationships, work  togethe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CA" altLang="en-US" sz="2800" dirty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AutoShape 16"/>
          <p:cNvSpPr>
            <a:spLocks noChangeArrowheads="1"/>
          </p:cNvSpPr>
          <p:nvPr/>
        </p:nvSpPr>
        <p:spPr bwMode="auto">
          <a:xfrm>
            <a:off x="1779262" y="5125965"/>
            <a:ext cx="1714500" cy="817655"/>
          </a:xfrm>
          <a:prstGeom prst="roundRect">
            <a:avLst>
              <a:gd name="adj" fmla="val 16667"/>
            </a:avLst>
          </a:prstGeom>
          <a:solidFill>
            <a:srgbClr val="66CCFF">
              <a:alpha val="44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altLang="en-US" sz="1000" b="1" dirty="0">
                <a:solidFill>
                  <a:srgbClr val="000000"/>
                </a:solidFill>
                <a:cs typeface="Arial" pitchFamily="34" charset="0"/>
              </a:rPr>
              <a:t>Asset Based Development –</a:t>
            </a:r>
            <a:endParaRPr lang="en-CA" altLang="en-US" sz="1000" dirty="0">
              <a:solidFill>
                <a:srgbClr val="000000"/>
              </a:solidFill>
              <a:cs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altLang="en-US" sz="1000" dirty="0">
                <a:solidFill>
                  <a:srgbClr val="000000"/>
                </a:solidFill>
                <a:cs typeface="Arial" pitchFamily="34" charset="0"/>
              </a:rPr>
              <a:t>Use positive assets and build on existing strength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AutoShape 17"/>
          <p:cNvSpPr>
            <a:spLocks noChangeArrowheads="1"/>
          </p:cNvSpPr>
          <p:nvPr/>
        </p:nvSpPr>
        <p:spPr bwMode="auto">
          <a:xfrm>
            <a:off x="5275850" y="5108597"/>
            <a:ext cx="1865095" cy="829039"/>
          </a:xfrm>
          <a:prstGeom prst="roundRect">
            <a:avLst>
              <a:gd name="adj" fmla="val 16667"/>
            </a:avLst>
          </a:prstGeom>
          <a:solidFill>
            <a:srgbClr val="66CCFF">
              <a:alpha val="44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altLang="en-US" sz="1000" b="1" dirty="0">
                <a:solidFill>
                  <a:srgbClr val="000000"/>
                </a:solidFill>
                <a:cs typeface="Arial" pitchFamily="34" charset="0"/>
              </a:rPr>
              <a:t>Leadership, Policy and Legislation –</a:t>
            </a:r>
            <a:endParaRPr lang="en-CA" altLang="en-US" sz="1000" dirty="0">
              <a:solidFill>
                <a:srgbClr val="000000"/>
              </a:solidFill>
              <a:cs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altLang="en-US" sz="1000" dirty="0">
                <a:solidFill>
                  <a:srgbClr val="000000"/>
                </a:solidFill>
                <a:cs typeface="Arial" pitchFamily="34" charset="0"/>
              </a:rPr>
              <a:t>Lead, influence, develop and apply policy and legislation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AutoShape 18"/>
          <p:cNvSpPr>
            <a:spLocks noChangeArrowheads="1"/>
          </p:cNvSpPr>
          <p:nvPr/>
        </p:nvSpPr>
        <p:spPr bwMode="auto">
          <a:xfrm>
            <a:off x="7186261" y="5117436"/>
            <a:ext cx="1900328" cy="820180"/>
          </a:xfrm>
          <a:prstGeom prst="roundRect">
            <a:avLst>
              <a:gd name="adj" fmla="val 16667"/>
            </a:avLst>
          </a:prstGeom>
          <a:solidFill>
            <a:srgbClr val="66CCFF">
              <a:alpha val="44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altLang="en-US" sz="1000" b="1" dirty="0">
                <a:solidFill>
                  <a:srgbClr val="000000"/>
                </a:solidFill>
                <a:cs typeface="Arial" pitchFamily="34" charset="0"/>
              </a:rPr>
              <a:t>Evidence Informed Practice –</a:t>
            </a:r>
            <a:endParaRPr lang="en-CA" altLang="en-US" sz="1000" dirty="0">
              <a:solidFill>
                <a:srgbClr val="000000"/>
              </a:solidFill>
              <a:cs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altLang="en-US" sz="1000" dirty="0">
                <a:solidFill>
                  <a:srgbClr val="000000"/>
                </a:solidFill>
                <a:cs typeface="Arial" pitchFamily="34" charset="0"/>
              </a:rPr>
              <a:t>Understand our situation through research and surveillance, evaluate to know what works and share what we have learned</a:t>
            </a:r>
            <a:endParaRPr lang="en-US" altLang="en-US" sz="1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6" name="Straight Connector 85"/>
          <p:cNvCxnSpPr/>
          <p:nvPr/>
        </p:nvCxnSpPr>
        <p:spPr>
          <a:xfrm>
            <a:off x="2636512" y="4953513"/>
            <a:ext cx="0" cy="164592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/>
          <p:nvPr/>
        </p:nvCxnSpPr>
        <p:spPr>
          <a:xfrm>
            <a:off x="4380490" y="4953513"/>
            <a:ext cx="0" cy="15240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/>
        </p:nvCxnSpPr>
        <p:spPr>
          <a:xfrm>
            <a:off x="6215485" y="4953513"/>
            <a:ext cx="0" cy="15240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/>
        </p:nvCxnSpPr>
        <p:spPr>
          <a:xfrm>
            <a:off x="8143522" y="4956177"/>
            <a:ext cx="0" cy="15240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AutoShape 15"/>
          <p:cNvSpPr>
            <a:spLocks noChangeArrowheads="1"/>
          </p:cNvSpPr>
          <p:nvPr/>
        </p:nvSpPr>
        <p:spPr bwMode="auto">
          <a:xfrm>
            <a:off x="3523240" y="5108597"/>
            <a:ext cx="1714500" cy="808827"/>
          </a:xfrm>
          <a:prstGeom prst="roundRect">
            <a:avLst>
              <a:gd name="adj" fmla="val 16667"/>
            </a:avLst>
          </a:prstGeom>
          <a:solidFill>
            <a:srgbClr val="66CCFF">
              <a:alpha val="44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altLang="en-US" sz="1000" b="1" dirty="0">
                <a:solidFill>
                  <a:srgbClr val="000000"/>
                </a:solidFill>
                <a:cs typeface="Arial" pitchFamily="34" charset="0"/>
              </a:rPr>
              <a:t>Promotion –</a:t>
            </a:r>
            <a:endParaRPr lang="en-CA" altLang="en-US" sz="1000" dirty="0">
              <a:solidFill>
                <a:srgbClr val="000000"/>
              </a:solidFill>
              <a:cs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altLang="en-US" sz="1000" dirty="0">
                <a:solidFill>
                  <a:srgbClr val="000000"/>
                </a:solidFill>
                <a:cs typeface="Arial" pitchFamily="34" charset="0"/>
              </a:rPr>
              <a:t>Communicate, share and promote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CA" altLang="en-US" sz="1000" dirty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4838700" y="1141199"/>
            <a:ext cx="3048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5143500" y="1141199"/>
            <a:ext cx="0" cy="3143166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4838700" y="4284365"/>
            <a:ext cx="3048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5143500" y="2607965"/>
            <a:ext cx="90525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2" name="Straight Connector 2051"/>
          <p:cNvCxnSpPr/>
          <p:nvPr/>
        </p:nvCxnSpPr>
        <p:spPr>
          <a:xfrm>
            <a:off x="7364068" y="3950968"/>
            <a:ext cx="0" cy="1002565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8541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paulincl\Pictures\9148952(2)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764704"/>
            <a:ext cx="7776864" cy="5184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4938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CA" dirty="0">
                <a:solidFill>
                  <a:srgbClr val="288DE3"/>
                </a:solidFill>
              </a:rPr>
              <a:t>Asset Based Community Develop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30200" y="1231900"/>
            <a:ext cx="8648700" cy="4031762"/>
          </a:xfrm>
        </p:spPr>
        <p:txBody>
          <a:bodyPr/>
          <a:lstStyle/>
          <a:p>
            <a:pPr marL="0" indent="0" algn="ctr">
              <a:buNone/>
            </a:pPr>
            <a:r>
              <a:rPr lang="fr-CA" dirty="0">
                <a:solidFill>
                  <a:srgbClr val="288DE3"/>
                </a:solidFill>
              </a:rPr>
              <a:t>Wellness Networks</a:t>
            </a:r>
            <a:endParaRPr lang="en-CA" dirty="0">
              <a:solidFill>
                <a:srgbClr val="288DE3"/>
              </a:solidFill>
            </a:endParaRPr>
          </a:p>
        </p:txBody>
      </p:sp>
      <p:sp>
        <p:nvSpPr>
          <p:cNvPr id="4" name="Striped Right Arrow 3"/>
          <p:cNvSpPr/>
          <p:nvPr/>
        </p:nvSpPr>
        <p:spPr>
          <a:xfrm>
            <a:off x="228600" y="2979074"/>
            <a:ext cx="1447800" cy="952500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CA" sz="1600" b="1" dirty="0" err="1">
                <a:solidFill>
                  <a:prstClr val="white"/>
                </a:solidFill>
              </a:rPr>
              <a:t>From</a:t>
            </a:r>
            <a:r>
              <a:rPr lang="fr-CA" sz="1600" b="1" dirty="0">
                <a:solidFill>
                  <a:prstClr val="white"/>
                </a:solidFill>
              </a:rPr>
              <a:t> </a:t>
            </a:r>
            <a:r>
              <a:rPr lang="fr-CA" sz="1600" b="1" dirty="0" err="1">
                <a:solidFill>
                  <a:prstClr val="white"/>
                </a:solidFill>
              </a:rPr>
              <a:t>this</a:t>
            </a:r>
            <a:r>
              <a:rPr lang="fr-CA" sz="1600" b="1" dirty="0">
                <a:solidFill>
                  <a:prstClr val="white"/>
                </a:solidFill>
              </a:rPr>
              <a:t> </a:t>
            </a:r>
            <a:endParaRPr lang="en-US" sz="1600" b="1" dirty="0">
              <a:solidFill>
                <a:prstClr val="white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810" y="2590800"/>
            <a:ext cx="2587625" cy="271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76"/>
          <a:stretch>
            <a:fillRect/>
          </a:stretch>
        </p:blipFill>
        <p:spPr bwMode="auto">
          <a:xfrm>
            <a:off x="5867400" y="2590800"/>
            <a:ext cx="2590800" cy="271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Oval 10"/>
          <p:cNvSpPr>
            <a:spLocks noChangeArrowheads="1"/>
          </p:cNvSpPr>
          <p:nvPr/>
        </p:nvSpPr>
        <p:spPr bwMode="auto">
          <a:xfrm>
            <a:off x="6815138" y="3552827"/>
            <a:ext cx="600075" cy="638175"/>
          </a:xfrm>
          <a:prstGeom prst="ellipse">
            <a:avLst/>
          </a:prstGeom>
          <a:solidFill>
            <a:srgbClr val="FF9966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ts val="400"/>
              </a:spcBef>
              <a:buClr>
                <a:schemeClr val="accent1"/>
              </a:buClr>
              <a:buSzPct val="68000"/>
              <a:buFont typeface="Wingdings 3" pitchFamily="18" charset="2"/>
              <a:buChar char=""/>
              <a:defRPr sz="2700"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 eaLnBrk="0" hangingPunct="0">
              <a:spcBef>
                <a:spcPts val="325"/>
              </a:spcBef>
              <a:buClr>
                <a:schemeClr val="accent1"/>
              </a:buClr>
              <a:buFont typeface="Verdana" pitchFamily="34" charset="0"/>
              <a:buChar char="◦"/>
              <a:defRPr sz="2300"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 eaLnBrk="0" hangingPunct="0">
              <a:spcBef>
                <a:spcPts val="350"/>
              </a:spcBef>
              <a:buClr>
                <a:schemeClr val="accent2"/>
              </a:buClr>
              <a:buSzPct val="100000"/>
              <a:buFont typeface="Wingdings 2" pitchFamily="18" charset="2"/>
              <a:buChar char=""/>
              <a:defRPr sz="2100"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 eaLnBrk="0" hangingPunct="0">
              <a:spcBef>
                <a:spcPts val="350"/>
              </a:spcBef>
              <a:buClr>
                <a:schemeClr val="accent2"/>
              </a:buClr>
              <a:buFont typeface="Wingdings 2" pitchFamily="18" charset="2"/>
              <a:buChar char=""/>
              <a:defRPr sz="1900"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 eaLnBrk="0" hangingPunct="0">
              <a:spcBef>
                <a:spcPts val="350"/>
              </a:spcBef>
              <a:buClr>
                <a:schemeClr val="accent2"/>
              </a:buClr>
              <a:buFont typeface="Wingdings 2" pitchFamily="18" charset="2"/>
              <a:buChar char=""/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eaLnBrk="0" fontAlgn="base" hangingPunct="0">
              <a:spcBef>
                <a:spcPts val="350"/>
              </a:spcBef>
              <a:spcAft>
                <a:spcPct val="0"/>
              </a:spcAft>
              <a:buClr>
                <a:schemeClr val="accent2"/>
              </a:buClr>
              <a:buFont typeface="Wingdings 2" pitchFamily="18" charset="2"/>
              <a:buChar char=""/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eaLnBrk="0" fontAlgn="base" hangingPunct="0">
              <a:spcBef>
                <a:spcPts val="350"/>
              </a:spcBef>
              <a:spcAft>
                <a:spcPct val="0"/>
              </a:spcAft>
              <a:buClr>
                <a:schemeClr val="accent2"/>
              </a:buClr>
              <a:buFont typeface="Wingdings 2" pitchFamily="18" charset="2"/>
              <a:buChar char=""/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eaLnBrk="0" fontAlgn="base" hangingPunct="0">
              <a:spcBef>
                <a:spcPts val="350"/>
              </a:spcBef>
              <a:spcAft>
                <a:spcPct val="0"/>
              </a:spcAft>
              <a:buClr>
                <a:schemeClr val="accent2"/>
              </a:buClr>
              <a:buFont typeface="Wingdings 2" pitchFamily="18" charset="2"/>
              <a:buChar char=""/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eaLnBrk="0" fontAlgn="base" hangingPunct="0">
              <a:spcBef>
                <a:spcPts val="350"/>
              </a:spcBef>
              <a:spcAft>
                <a:spcPct val="0"/>
              </a:spcAft>
              <a:buClr>
                <a:schemeClr val="accent2"/>
              </a:buClr>
              <a:buFont typeface="Wingdings 2" pitchFamily="18" charset="2"/>
              <a:buChar char=""/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800" b="1" dirty="0">
                <a:solidFill>
                  <a:prstClr val="black"/>
                </a:solidFill>
                <a:latin typeface="Arial" charset="0"/>
              </a:rPr>
              <a:t>Wellness 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800" b="1" dirty="0">
                <a:solidFill>
                  <a:prstClr val="black"/>
                </a:solidFill>
                <a:latin typeface="Arial" charset="0"/>
              </a:rPr>
              <a:t>Network</a:t>
            </a:r>
          </a:p>
        </p:txBody>
      </p:sp>
      <p:sp>
        <p:nvSpPr>
          <p:cNvPr id="10" name="Striped Right Arrow 9"/>
          <p:cNvSpPr/>
          <p:nvPr/>
        </p:nvSpPr>
        <p:spPr>
          <a:xfrm>
            <a:off x="4485753" y="2960024"/>
            <a:ext cx="1305448" cy="990600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CA" sz="1600" b="1" dirty="0">
                <a:solidFill>
                  <a:prstClr val="white"/>
                </a:solidFill>
              </a:rPr>
              <a:t>To </a:t>
            </a:r>
            <a:r>
              <a:rPr lang="fr-CA" sz="1600" b="1" dirty="0" err="1">
                <a:solidFill>
                  <a:prstClr val="white"/>
                </a:solidFill>
              </a:rPr>
              <a:t>this</a:t>
            </a:r>
            <a:endParaRPr lang="en-US" sz="16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4792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044EF6F-EF74-4427-9E57-5C8F6D2F69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CA" dirty="0">
                <a:solidFill>
                  <a:srgbClr val="00B050"/>
                </a:solidFill>
              </a:rPr>
              <a:t>Wellness Regions &amp; Network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BA41AE2-DFDD-41F8-A59F-2FFB93A9A53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675" y="637862"/>
            <a:ext cx="6452935" cy="6220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770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CA" sz="3600" b="1" dirty="0">
                <a:solidFill>
                  <a:srgbClr val="00B050"/>
                </a:solidFill>
              </a:rPr>
              <a:t>Asset Based Community Development</a:t>
            </a:r>
            <a:endParaRPr lang="en-US" sz="3600" b="1" dirty="0">
              <a:solidFill>
                <a:srgbClr val="00B050"/>
              </a:solidFill>
            </a:endParaRPr>
          </a:p>
          <a:p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/>
          </p:nvPr>
        </p:nvSpPr>
        <p:spPr>
          <a:xfrm>
            <a:off x="330200" y="802640"/>
            <a:ext cx="8648700" cy="4749800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2400" y="5902135"/>
            <a:ext cx="1699260" cy="641943"/>
          </a:xfrm>
          <a:prstGeom prst="rect">
            <a:avLst/>
          </a:prstGeom>
        </p:spPr>
      </p:pic>
      <p:pic>
        <p:nvPicPr>
          <p:cNvPr id="7" name="Picture 2" descr="http://2.bp.blogspot.com/-lLYI5oHHJ5Q/Unv6aKQEqfI/AAAAAAAAjd8/8QZHHNd5gds/s1600/ABCD-Blocks-Method-Trnsprnt-Clipped-copy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1" y="1475740"/>
            <a:ext cx="4311650" cy="3371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6967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0CEB5FD-1F68-4966-9C29-5DA5ADCCFE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3" y="758952"/>
            <a:ext cx="2582693" cy="5330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88154DA-55D8-482D-94C2-81A8A265D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861898" y="758952"/>
            <a:ext cx="288036" cy="5330952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 useBgFill="1">
        <p:nvSpPr>
          <p:cNvPr id="16" name="Rectangle 15">
            <a:extLst>
              <a:ext uri="{FF2B5EF4-FFF2-40B4-BE49-F238E27FC236}">
                <a16:creationId xmlns:a16="http://schemas.microsoft.com/office/drawing/2014/main" id="{A1DFCBE5-52C1-48A9-89CF-E7D68CCA16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171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B17C8F6-D357-4254-BBAC-96B01EEBE1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3" y="3647203"/>
            <a:ext cx="8780525" cy="25726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-518196" y="3933480"/>
            <a:ext cx="3619110" cy="1883228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r"/>
            <a:r>
              <a:rPr lang="en-US" altLang="en-US" sz="4100" spc="-60" dirty="0">
                <a:solidFill>
                  <a:schemeClr val="bg1"/>
                </a:solidFill>
              </a:rPr>
              <a:t>Community Health Needs Assessments (CHNA)</a:t>
            </a:r>
            <a:endParaRPr lang="en-US" sz="4100" spc="-60" dirty="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32DE7A4-F8E5-4C02-B02D-A05FB32545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1143000"/>
            <a:ext cx="4148420" cy="164748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59CA738-B0E0-42F0-9A15-CE37B853A62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1766" y="1295400"/>
            <a:ext cx="3276600" cy="149508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619110" y="3819371"/>
            <a:ext cx="5161427" cy="24004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indent="-182880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Wingdings 2" pitchFamily="18" charset="2"/>
              <a:buChar char=""/>
            </a:pPr>
            <a:r>
              <a:rPr lang="en-US" i="1" dirty="0">
                <a:solidFill>
                  <a:srgbClr val="FFFFFF"/>
                </a:solidFill>
                <a:latin typeface="+mn-lt"/>
                <a:cs typeface="+mn-cs"/>
              </a:rPr>
              <a:t>Karine Regnier, </a:t>
            </a:r>
            <a:r>
              <a:rPr lang="en-US" i="1" dirty="0" err="1">
                <a:solidFill>
                  <a:srgbClr val="FFFFFF"/>
                </a:solidFill>
                <a:latin typeface="+mn-lt"/>
                <a:cs typeface="+mn-cs"/>
              </a:rPr>
              <a:t>Vitalité’s</a:t>
            </a:r>
            <a:r>
              <a:rPr lang="en-US" i="1" dirty="0">
                <a:solidFill>
                  <a:srgbClr val="FFFFFF"/>
                </a:solidFill>
                <a:latin typeface="+mn-lt"/>
                <a:cs typeface="+mn-cs"/>
              </a:rPr>
              <a:t> Regional Project Coordinator, CHNA</a:t>
            </a:r>
          </a:p>
          <a:p>
            <a:pPr indent="-182880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Wingdings 2" pitchFamily="18" charset="2"/>
              <a:buChar char=""/>
            </a:pPr>
            <a:r>
              <a:rPr lang="en-US" i="1" dirty="0">
                <a:solidFill>
                  <a:srgbClr val="FFFFFF"/>
                </a:solidFill>
                <a:latin typeface="+mn-lt"/>
                <a:cs typeface="+mn-cs"/>
              </a:rPr>
              <a:t>Erin Kelly , Horizon’s Research Lead, CHNA Team</a:t>
            </a:r>
          </a:p>
          <a:p>
            <a:pPr indent="-182880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Wingdings 2" pitchFamily="18" charset="2"/>
              <a:buChar char=""/>
            </a:pPr>
            <a:r>
              <a:rPr lang="en-US" i="1" dirty="0">
                <a:solidFill>
                  <a:srgbClr val="FFFFFF"/>
                </a:solidFill>
                <a:latin typeface="+mn-lt"/>
                <a:cs typeface="+mn-cs"/>
              </a:rPr>
              <a:t>Gabrielle Levesque, Horizon’s Regional Facilitator, CHNA Team</a:t>
            </a:r>
          </a:p>
          <a:p>
            <a:pPr indent="-182880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Font typeface="Wingdings 2" pitchFamily="18" charset="2"/>
              <a:buChar char=""/>
            </a:pPr>
            <a:r>
              <a:rPr lang="en-US" i="1" dirty="0">
                <a:solidFill>
                  <a:srgbClr val="FFFFFF"/>
                </a:solidFill>
                <a:latin typeface="+mn-lt"/>
                <a:cs typeface="+mn-cs"/>
              </a:rPr>
              <a:t>Mila MacLeod, Horizon’s Project Coordinator, CHNA Team</a:t>
            </a:r>
          </a:p>
        </p:txBody>
      </p:sp>
    </p:spTree>
    <p:extLst>
      <p:ext uri="{BB962C8B-B14F-4D97-AF65-F5344CB8AC3E}">
        <p14:creationId xmlns:p14="http://schemas.microsoft.com/office/powerpoint/2010/main" val="2796047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57845966-6EFC-468A-9CC7-BAB4B95854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9144000" cy="6858000"/>
          </a:xfrm>
          <a:prstGeom prst="rect">
            <a:avLst/>
          </a:prstGeom>
          <a:solidFill>
            <a:srgbClr val="6393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75554383-98AF-4A47-BB65-705FAAA4BE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ADAD1991-FFD1-4E94-ABAB-7560D33008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55410" y="-3970"/>
            <a:ext cx="7748362" cy="6874811"/>
          </a:xfrm>
          <a:custGeom>
            <a:avLst/>
            <a:gdLst>
              <a:gd name="connsiteX0" fmla="*/ 2232159 w 7837716"/>
              <a:gd name="connsiteY0" fmla="*/ 0 h 6858000"/>
              <a:gd name="connsiteX1" fmla="*/ 5605557 w 7837716"/>
              <a:gd name="connsiteY1" fmla="*/ 0 h 6858000"/>
              <a:gd name="connsiteX2" fmla="*/ 5617845 w 7837716"/>
              <a:gd name="connsiteY2" fmla="*/ 5384 h 6858000"/>
              <a:gd name="connsiteX3" fmla="*/ 7837716 w 7837716"/>
              <a:gd name="connsiteY3" fmla="*/ 3429000 h 6858000"/>
              <a:gd name="connsiteX4" fmla="*/ 5617845 w 7837716"/>
              <a:gd name="connsiteY4" fmla="*/ 6852616 h 6858000"/>
              <a:gd name="connsiteX5" fmla="*/ 5605557 w 7837716"/>
              <a:gd name="connsiteY5" fmla="*/ 6858000 h 6858000"/>
              <a:gd name="connsiteX6" fmla="*/ 2232159 w 7837716"/>
              <a:gd name="connsiteY6" fmla="*/ 6858000 h 6858000"/>
              <a:gd name="connsiteX7" fmla="*/ 2219871 w 7837716"/>
              <a:gd name="connsiteY7" fmla="*/ 6852616 h 6858000"/>
              <a:gd name="connsiteX8" fmla="*/ 0 w 7837716"/>
              <a:gd name="connsiteY8" fmla="*/ 3429000 h 6858000"/>
              <a:gd name="connsiteX9" fmla="*/ 2219871 w 7837716"/>
              <a:gd name="connsiteY9" fmla="*/ 538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837716" h="6858000">
                <a:moveTo>
                  <a:pt x="2232159" y="0"/>
                </a:moveTo>
                <a:lnTo>
                  <a:pt x="5605557" y="0"/>
                </a:lnTo>
                <a:lnTo>
                  <a:pt x="5617845" y="5384"/>
                </a:lnTo>
                <a:cubicBezTo>
                  <a:pt x="6931322" y="618789"/>
                  <a:pt x="7837716" y="1921305"/>
                  <a:pt x="7837716" y="3429000"/>
                </a:cubicBezTo>
                <a:cubicBezTo>
                  <a:pt x="7837716" y="4936696"/>
                  <a:pt x="6931322" y="6239212"/>
                  <a:pt x="5617845" y="6852616"/>
                </a:cubicBezTo>
                <a:lnTo>
                  <a:pt x="5605557" y="6858000"/>
                </a:lnTo>
                <a:lnTo>
                  <a:pt x="2232159" y="6858000"/>
                </a:lnTo>
                <a:lnTo>
                  <a:pt x="2219871" y="6852616"/>
                </a:lnTo>
                <a:cubicBezTo>
                  <a:pt x="906394" y="6239212"/>
                  <a:pt x="0" y="4936696"/>
                  <a:pt x="0" y="3429000"/>
                </a:cubicBezTo>
                <a:cubicBezTo>
                  <a:pt x="0" y="1921305"/>
                  <a:pt x="906394" y="618789"/>
                  <a:pt x="2219871" y="5384"/>
                </a:cubicBezTo>
                <a:close/>
              </a:path>
            </a:pathLst>
          </a:custGeom>
          <a:solidFill>
            <a:schemeClr val="bg1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bg2">
                    <a:lumMod val="82000"/>
                  </a:schemeClr>
                </a:gs>
                <a:gs pos="100000">
                  <a:schemeClr val="bg2">
                    <a:lumMod val="87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60EB28B-8A97-4E1C-99AB-1441A78E306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8860" y="1269802"/>
            <a:ext cx="5421465" cy="4318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826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0">
            <a:extLst>
              <a:ext uri="{FF2B5EF4-FFF2-40B4-BE49-F238E27FC236}">
                <a16:creationId xmlns:a16="http://schemas.microsoft.com/office/drawing/2014/main" id="{35E1243F-250A-4475-B696-601AFE7AE7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4345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6132993-4EC5-47A4-9E43-6C39BC22EA4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" y="10"/>
            <a:ext cx="9143985" cy="685799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5E2411F-C40C-410C-8445-E02ADC0F4D1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63" r="-1" b="-1"/>
          <a:stretch/>
        </p:blipFill>
        <p:spPr>
          <a:xfrm>
            <a:off x="533400" y="1219220"/>
            <a:ext cx="4477942" cy="3117799"/>
          </a:xfrm>
          <a:prstGeom prst="rect">
            <a:avLst/>
          </a:prstGeom>
          <a:ln w="152400">
            <a:solidFill>
              <a:srgbClr val="FFFFFF"/>
            </a:solidFill>
            <a:miter lim="800000"/>
          </a:ln>
        </p:spPr>
      </p:pic>
    </p:spTree>
    <p:extLst>
      <p:ext uri="{BB962C8B-B14F-4D97-AF65-F5344CB8AC3E}">
        <p14:creationId xmlns:p14="http://schemas.microsoft.com/office/powerpoint/2010/main" val="2559730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60000">
        <p:fade/>
      </p:transition>
    </mc:Choice>
    <mc:Fallback xmlns="">
      <p:transition spd="med" advClick="0" advTm="60000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QsMD8MTMKZpTt0An9q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heme/_rels/theme2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6.jpeg"/></Relationships>
</file>

<file path=ppt/theme/_rels/theme3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7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2_HHN-PH-PPT Template with cover pictur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3_HHN-PH-PPT Template with cover pictur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4_HHN-PH-PPT Template with cover pictur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5_HHN-PH-PPT Template with cover pictur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6_HHN-PH-PPT Template with cover pictur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anchor="ctr" anchorCtr="0"/>
      <a:lstStyle>
        <a:defPPr>
          <a:spcBef>
            <a:spcPts val="200"/>
          </a:spcBef>
          <a:defRPr sz="2000" dirty="0" smtClean="0">
            <a:solidFill>
              <a:schemeClr val="bg1"/>
            </a:solidFill>
            <a:latin typeface="Adelle Sans Thin"/>
            <a:cs typeface="Adelle Sans Thin"/>
          </a:defRPr>
        </a:defPPr>
      </a:lstStyle>
    </a:txDef>
  </a:objectDefaults>
  <a:extraClrSchemeLst/>
</a:theme>
</file>

<file path=ppt/theme/theme16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hocolate">
  <a:themeElements>
    <a:clrScheme name="Chocolate 1">
      <a:dk1>
        <a:srgbClr val="4C4C4C"/>
      </a:dk1>
      <a:lt1>
        <a:srgbClr val="FFFFFF"/>
      </a:lt1>
      <a:dk2>
        <a:srgbClr val="FFFFFF"/>
      </a:dk2>
      <a:lt2>
        <a:srgbClr val="CCD0A5"/>
      </a:lt2>
      <a:accent1>
        <a:srgbClr val="1A2267"/>
      </a:accent1>
      <a:accent2>
        <a:srgbClr val="6D8022"/>
      </a:accent2>
      <a:accent3>
        <a:srgbClr val="FFFFFF"/>
      </a:accent3>
      <a:accent4>
        <a:srgbClr val="404040"/>
      </a:accent4>
      <a:accent5>
        <a:srgbClr val="ABABB8"/>
      </a:accent5>
      <a:accent6>
        <a:srgbClr val="62731E"/>
      </a:accent6>
      <a:hlink>
        <a:srgbClr val="A3C135"/>
      </a:hlink>
      <a:folHlink>
        <a:srgbClr val="CCD0A5"/>
      </a:folHlink>
    </a:clrScheme>
    <a:fontScheme name="Chocolate">
      <a:majorFont>
        <a:latin typeface="Arial Bold"/>
        <a:ea typeface="ＭＳ Ｐゴシック"/>
        <a:cs typeface=""/>
      </a:majorFont>
      <a:minorFont>
        <a:latin typeface="Tahom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" charset="-128"/>
          </a:defRPr>
        </a:defPPr>
      </a:lstStyle>
    </a:lnDef>
  </a:objectDefaults>
  <a:extraClrSchemeLst>
    <a:extraClrScheme>
      <a:clrScheme name="Chocolate 1">
        <a:dk1>
          <a:srgbClr val="4C4C4C"/>
        </a:dk1>
        <a:lt1>
          <a:srgbClr val="FFFFFF"/>
        </a:lt1>
        <a:dk2>
          <a:srgbClr val="FFFFFF"/>
        </a:dk2>
        <a:lt2>
          <a:srgbClr val="CCD0A5"/>
        </a:lt2>
        <a:accent1>
          <a:srgbClr val="1A2267"/>
        </a:accent1>
        <a:accent2>
          <a:srgbClr val="6D8022"/>
        </a:accent2>
        <a:accent3>
          <a:srgbClr val="FFFFFF"/>
        </a:accent3>
        <a:accent4>
          <a:srgbClr val="404040"/>
        </a:accent4>
        <a:accent5>
          <a:srgbClr val="ABABB8"/>
        </a:accent5>
        <a:accent6>
          <a:srgbClr val="62731E"/>
        </a:accent6>
        <a:hlink>
          <a:srgbClr val="A3C135"/>
        </a:hlink>
        <a:folHlink>
          <a:srgbClr val="CCD0A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1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1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1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1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1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1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1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Origin">
  <a:themeElements>
    <a:clrScheme name="Origin">
      <a:dk1>
        <a:sysClr val="windowText" lastClr="000000"/>
      </a:dk1>
      <a:lt1>
        <a:sysClr val="window" lastClr="FFFFFF"/>
      </a:lt1>
      <a:dk2>
        <a:srgbClr val="464653"/>
      </a:dk2>
      <a:lt2>
        <a:srgbClr val="DDE9EC"/>
      </a:lt2>
      <a:accent1>
        <a:srgbClr val="727CA3"/>
      </a:accent1>
      <a:accent2>
        <a:srgbClr val="9FB8CD"/>
      </a:accent2>
      <a:accent3>
        <a:srgbClr val="D2DA7A"/>
      </a:accent3>
      <a:accent4>
        <a:srgbClr val="FADA7A"/>
      </a:accent4>
      <a:accent5>
        <a:srgbClr val="B88472"/>
      </a:accent5>
      <a:accent6>
        <a:srgbClr val="8E736A"/>
      </a:accent6>
      <a:hlink>
        <a:srgbClr val="B292CA"/>
      </a:hlink>
      <a:folHlink>
        <a:srgbClr val="6B5680"/>
      </a:folHlink>
    </a:clrScheme>
    <a:fontScheme name="Origin">
      <a:majorFont>
        <a:latin typeface="Bookman Old Style"/>
        <a:ea typeface=""/>
        <a:cs typeface=""/>
        <a:font script="Grek" typeface="Cambria"/>
        <a:font script="Cyrl" typeface="Cambria"/>
        <a:font script="Jpan" typeface="HG明朝E"/>
        <a:font script="Hang" typeface="돋움"/>
        <a:font script="Hans" typeface="宋体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alibri"/>
        <a:font script="Cyrl" typeface="Calibri"/>
        <a:font script="Jpan" typeface="ＭＳ Ｐゴシック"/>
        <a:font script="Hang" typeface="맑은 고딕"/>
        <a:font script="Hans" typeface="华文新魏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rigin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atMod val="22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6000"/>
                <a:satMod val="120000"/>
              </a:schemeClr>
              <a:schemeClr val="phClr">
                <a:tint val="90000"/>
              </a:schemeClr>
            </a:duotone>
          </a:blip>
          <a:tile tx="0" ty="0" sx="35000" sy="40000" flip="x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Lato">
      <a:majorFont>
        <a:latin typeface="Lato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0.xml><?xml version="1.0" encoding="utf-8"?>
<a:theme xmlns:a="http://schemas.openxmlformats.org/drawingml/2006/main" name="Adjacency">
  <a:themeElements>
    <a:clrScheme name="Adjacency">
      <a:dk1>
        <a:srgbClr val="2F2B20"/>
      </a:dk1>
      <a:lt1>
        <a:srgbClr val="FFFFFF"/>
      </a:lt1>
      <a:dk2>
        <a:srgbClr val="675E47"/>
      </a:dk2>
      <a:lt2>
        <a:srgbClr val="DFDCB7"/>
      </a:lt2>
      <a:accent1>
        <a:srgbClr val="A9A57C"/>
      </a:accent1>
      <a:accent2>
        <a:srgbClr val="9CBEBD"/>
      </a:accent2>
      <a:accent3>
        <a:srgbClr val="D2CB6C"/>
      </a:accent3>
      <a:accent4>
        <a:srgbClr val="95A39D"/>
      </a:accent4>
      <a:accent5>
        <a:srgbClr val="C89F5D"/>
      </a:accent5>
      <a:accent6>
        <a:srgbClr val="B1A089"/>
      </a:accent6>
      <a:hlink>
        <a:srgbClr val="D25814"/>
      </a:hlink>
      <a:folHlink>
        <a:srgbClr val="849A0A"/>
      </a:folHlink>
    </a:clrScheme>
    <a:fontScheme name="Office">
      <a:majorFont>
        <a:latin typeface="Cambr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Adjacency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/>
  <a:extraClrSchemeLst/>
</a:theme>
</file>

<file path=ppt/theme/theme3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8C59B386-999D-4CB6-B907-9F3997C027CC}"/>
    </a:ext>
  </a:extLst>
</a:theme>
</file>

<file path=ppt/theme/theme32.xml><?xml version="1.0" encoding="utf-8"?>
<a:theme xmlns:a="http://schemas.openxmlformats.org/drawingml/2006/main" name="1_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8C59B386-999D-4CB6-B907-9F3997C027CC}"/>
    </a:ext>
  </a:extLst>
</a:theme>
</file>

<file path=ppt/theme/theme33.xml><?xml version="1.0" encoding="utf-8"?>
<a:theme xmlns:a="http://schemas.openxmlformats.org/drawingml/2006/main" name="2_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8C59B386-999D-4CB6-B907-9F3997C027CC}"/>
    </a:ext>
  </a:extLst>
</a:theme>
</file>

<file path=ppt/theme/theme34.xml><?xml version="1.0" encoding="utf-8"?>
<a:theme xmlns:a="http://schemas.openxmlformats.org/drawingml/2006/main" name="3_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8C59B386-999D-4CB6-B907-9F3997C027CC}"/>
    </a:ext>
  </a:extLst>
</a:theme>
</file>

<file path=ppt/theme/theme35.xml><?xml version="1.0" encoding="utf-8"?>
<a:theme xmlns:a="http://schemas.openxmlformats.org/drawingml/2006/main" name="4_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8C59B386-999D-4CB6-B907-9F3997C027CC}"/>
    </a:ext>
  </a:extLst>
</a:theme>
</file>

<file path=ppt/theme/theme3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Lato">
      <a:majorFont>
        <a:latin typeface="Lato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Lato">
      <a:majorFont>
        <a:latin typeface="Lato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Lato">
      <a:majorFont>
        <a:latin typeface="Lato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Lato">
      <a:majorFont>
        <a:latin typeface="Lato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Vitalité">
  <a:themeElements>
    <a:clrScheme name="Vitalité">
      <a:dk1>
        <a:srgbClr val="4C4C4C"/>
      </a:dk1>
      <a:lt1>
        <a:srgbClr val="939393"/>
      </a:lt1>
      <a:dk2>
        <a:srgbClr val="2F2F92"/>
      </a:dk2>
      <a:lt2>
        <a:srgbClr val="CCD0A5"/>
      </a:lt2>
      <a:accent1>
        <a:srgbClr val="2F2F92"/>
      </a:accent1>
      <a:accent2>
        <a:srgbClr val="6565CD"/>
      </a:accent2>
      <a:accent3>
        <a:srgbClr val="A3A3E1"/>
      </a:accent3>
      <a:accent4>
        <a:srgbClr val="AEB94A"/>
      </a:accent4>
      <a:accent5>
        <a:srgbClr val="C5CD7D"/>
      </a:accent5>
      <a:accent6>
        <a:srgbClr val="DEE9AD"/>
      </a:accent6>
      <a:hlink>
        <a:srgbClr val="2F2F92"/>
      </a:hlink>
      <a:folHlink>
        <a:srgbClr val="7030A0"/>
      </a:folHlink>
    </a:clrScheme>
    <a:fontScheme name="Vitalité">
      <a:majorFont>
        <a:latin typeface="Arial Bold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" charset="-128"/>
          </a:defRPr>
        </a:defPPr>
      </a:lstStyle>
    </a:lnDef>
  </a:objectDefaults>
  <a:extraClrSchemeLst>
    <a:extraClrScheme>
      <a:clrScheme name="Chocolate 1">
        <a:dk1>
          <a:srgbClr val="4C4C4C"/>
        </a:dk1>
        <a:lt1>
          <a:srgbClr val="FFFFFF"/>
        </a:lt1>
        <a:dk2>
          <a:srgbClr val="FFFFFF"/>
        </a:dk2>
        <a:lt2>
          <a:srgbClr val="CCD0A5"/>
        </a:lt2>
        <a:accent1>
          <a:srgbClr val="1A2267"/>
        </a:accent1>
        <a:accent2>
          <a:srgbClr val="6D8022"/>
        </a:accent2>
        <a:accent3>
          <a:srgbClr val="FFFFFF"/>
        </a:accent3>
        <a:accent4>
          <a:srgbClr val="404040"/>
        </a:accent4>
        <a:accent5>
          <a:srgbClr val="ABABB8"/>
        </a:accent5>
        <a:accent6>
          <a:srgbClr val="62731E"/>
        </a:accent6>
        <a:hlink>
          <a:srgbClr val="A3C135"/>
        </a:hlink>
        <a:folHlink>
          <a:srgbClr val="CCD0A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HHN-PH-PPT Template with cover pictur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7</TotalTime>
  <Words>1334</Words>
  <Application>Microsoft Office PowerPoint</Application>
  <PresentationFormat>On-screen Show (4:3)</PresentationFormat>
  <Paragraphs>240</Paragraphs>
  <Slides>62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22</vt:i4>
      </vt:variant>
      <vt:variant>
        <vt:lpstr>Theme</vt:lpstr>
      </vt:variant>
      <vt:variant>
        <vt:i4>3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2</vt:i4>
      </vt:variant>
    </vt:vector>
  </HeadingPairs>
  <TitlesOfParts>
    <vt:vector size="120" baseType="lpstr">
      <vt:lpstr>MS PGothic</vt:lpstr>
      <vt:lpstr>MS PGothic</vt:lpstr>
      <vt:lpstr>Adelle Sans</vt:lpstr>
      <vt:lpstr>Adelle Sans Light</vt:lpstr>
      <vt:lpstr>Adelle Sans Thin</vt:lpstr>
      <vt:lpstr>AdelleSans-Regular</vt:lpstr>
      <vt:lpstr>Arial</vt:lpstr>
      <vt:lpstr>Arial Bold</vt:lpstr>
      <vt:lpstr>Bookman Old Style</vt:lpstr>
      <vt:lpstr>Calibri</vt:lpstr>
      <vt:lpstr>Cambria</vt:lpstr>
      <vt:lpstr>Courier New</vt:lpstr>
      <vt:lpstr>Gill Sans MT</vt:lpstr>
      <vt:lpstr>Lato</vt:lpstr>
      <vt:lpstr>Lato BLACK</vt:lpstr>
      <vt:lpstr>Myriad Pro</vt:lpstr>
      <vt:lpstr>Tahoma</vt:lpstr>
      <vt:lpstr>Times New Roman</vt:lpstr>
      <vt:lpstr>Trebuchet MS</vt:lpstr>
      <vt:lpstr>Wingdings</vt:lpstr>
      <vt:lpstr>Wingdings 2</vt:lpstr>
      <vt:lpstr>Wingdings 3</vt:lpstr>
      <vt:lpstr>Office Theme</vt:lpstr>
      <vt:lpstr>Chocolate</vt:lpstr>
      <vt:lpstr>1_Office Theme</vt:lpstr>
      <vt:lpstr>2_Office Theme</vt:lpstr>
      <vt:lpstr>3_Office Theme</vt:lpstr>
      <vt:lpstr>4_Office Theme</vt:lpstr>
      <vt:lpstr>5_Office Theme</vt:lpstr>
      <vt:lpstr>Vitalité</vt:lpstr>
      <vt:lpstr>1_HHN-PH-PPT Template with cover picture</vt:lpstr>
      <vt:lpstr>2_HHN-PH-PPT Template with cover picture</vt:lpstr>
      <vt:lpstr>3_HHN-PH-PPT Template with cover picture</vt:lpstr>
      <vt:lpstr>4_HHN-PH-PPT Template with cover picture</vt:lpstr>
      <vt:lpstr>5_HHN-PH-PPT Template with cover picture</vt:lpstr>
      <vt:lpstr>6_HHN-PH-PPT Template with cover picture</vt:lpstr>
      <vt:lpstr>Custom Design</vt:lpstr>
      <vt:lpstr>6_Office Theme</vt:lpstr>
      <vt:lpstr>7_Office Theme</vt:lpstr>
      <vt:lpstr>8_Office Theme</vt:lpstr>
      <vt:lpstr>9_Office Theme</vt:lpstr>
      <vt:lpstr>10_Office Theme</vt:lpstr>
      <vt:lpstr>11_Office Theme</vt:lpstr>
      <vt:lpstr>12_Office Theme</vt:lpstr>
      <vt:lpstr>13_Office Theme</vt:lpstr>
      <vt:lpstr>14_Office Theme</vt:lpstr>
      <vt:lpstr>15_Office Theme</vt:lpstr>
      <vt:lpstr>16_Office Theme</vt:lpstr>
      <vt:lpstr>17_Office Theme</vt:lpstr>
      <vt:lpstr>18_Office Theme</vt:lpstr>
      <vt:lpstr>Origin</vt:lpstr>
      <vt:lpstr>Adjacency</vt:lpstr>
      <vt:lpstr>Facet</vt:lpstr>
      <vt:lpstr>1_Facet</vt:lpstr>
      <vt:lpstr>2_Facet</vt:lpstr>
      <vt:lpstr>3_Facet</vt:lpstr>
      <vt:lpstr>4_Facet</vt:lpstr>
      <vt:lpstr>think-cell Slide</vt:lpstr>
      <vt:lpstr>Regional Addictions and Mental Health Prevention Coordinato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mmunity Health Needs Assessments (CHNA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orizon’s ‘Boots on the Ground’  Scott Crawford - Regional Manag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imary Care Access Coordinators in Vitalité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HCACs in Horizon</vt:lpstr>
      <vt:lpstr>PowerPoint Presentation</vt:lpstr>
      <vt:lpstr>PowerPoint Presentation</vt:lpstr>
      <vt:lpstr>(ALLIED HEALTH EXAMPLE)</vt:lpstr>
      <vt:lpstr>PowerPoint Presentation</vt:lpstr>
      <vt:lpstr>PowerPoint Presentation</vt:lpstr>
      <vt:lpstr>Sunny picture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anadian Mental Health Association of NB </vt:lpstr>
      <vt:lpstr>PowerPoint Presentation</vt:lpstr>
      <vt:lpstr>PROMOTE MENTAL HEALTH FOR ALL PEOPLE</vt:lpstr>
      <vt:lpstr>RANDOM NUMBERS!  </vt:lpstr>
      <vt:lpstr>PowerPoint Presentation</vt:lpstr>
      <vt:lpstr>Sport and Recreation Branch  </vt:lpstr>
      <vt:lpstr>PowerPoint Presentation</vt:lpstr>
      <vt:lpstr>PowerPoint Presentation</vt:lpstr>
      <vt:lpstr>Our Partners</vt:lpstr>
      <vt:lpstr>Consultation Services</vt:lpstr>
      <vt:lpstr>Regional Funding Opportunities</vt:lpstr>
      <vt:lpstr>New Brunswick Health Council</vt:lpstr>
      <vt:lpstr>PowerPoint Presentation</vt:lpstr>
      <vt:lpstr>PowerPoint Presentation</vt:lpstr>
      <vt:lpstr>Community Profiles released June 2017</vt:lpstr>
      <vt:lpstr>Questions? 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Province of New Brunswi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H Citrix User</dc:creator>
  <cp:lastModifiedBy>Sherwood Orser, Kathy    (SD/DS)</cp:lastModifiedBy>
  <cp:revision>24</cp:revision>
  <dcterms:created xsi:type="dcterms:W3CDTF">2019-04-25T11:13:44Z</dcterms:created>
  <dcterms:modified xsi:type="dcterms:W3CDTF">2019-10-21T18:07:31Z</dcterms:modified>
</cp:coreProperties>
</file>